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8"/>
  </p:notesMasterIdLst>
  <p:handoutMasterIdLst>
    <p:handoutMasterId r:id="rId19"/>
  </p:handoutMasterIdLst>
  <p:sldIdLst>
    <p:sldId id="256" r:id="rId5"/>
    <p:sldId id="268" r:id="rId6"/>
    <p:sldId id="261" r:id="rId7"/>
    <p:sldId id="270" r:id="rId8"/>
    <p:sldId id="2147376535" r:id="rId9"/>
    <p:sldId id="1677" r:id="rId10"/>
    <p:sldId id="2747" r:id="rId11"/>
    <p:sldId id="2147376533" r:id="rId12"/>
    <p:sldId id="2737" r:id="rId13"/>
    <p:sldId id="572" r:id="rId14"/>
    <p:sldId id="2147376534" r:id="rId15"/>
    <p:sldId id="3626" r:id="rId16"/>
    <p:sldId id="2147376536" r:id="rId17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8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8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1300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28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7798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590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  <p:sldLayoutId id="2147483868" r:id="rId60"/>
    <p:sldLayoutId id="2147483869" r:id="rId61"/>
    <p:sldLayoutId id="2147483870" r:id="rId62"/>
    <p:sldLayoutId id="2147483871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46.pn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5.sv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4.png"/><Relationship Id="rId5" Type="http://schemas.openxmlformats.org/officeDocument/2006/relationships/tags" Target="../tags/tag22.xml"/><Relationship Id="rId15" Type="http://schemas.openxmlformats.org/officeDocument/2006/relationships/hyperlink" Target="https://www.royalmailwholesale.com/testing-and-innovation" TargetMode="External"/><Relationship Id="rId10" Type="http://schemas.openxmlformats.org/officeDocument/2006/relationships/image" Target="../media/image43.svg"/><Relationship Id="rId4" Type="http://schemas.openxmlformats.org/officeDocument/2006/relationships/tags" Target="../tags/tag21.xml"/><Relationship Id="rId9" Type="http://schemas.openxmlformats.org/officeDocument/2006/relationships/image" Target="../media/image42.png"/><Relationship Id="rId14" Type="http://schemas.openxmlformats.org/officeDocument/2006/relationships/image" Target="../media/image47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slideLayout" Target="../slideLayouts/slideLayout1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1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90F3E-697B-B504-13AD-424A3899B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TRAVEL INCENTIVE</a:t>
            </a:r>
            <a:br>
              <a:rPr lang="en-US" dirty="0"/>
            </a:br>
            <a:r>
              <a:rPr lang="en-US" dirty="0"/>
              <a:t>2025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BB1F48-86D6-D1C6-11BC-B0E526C828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add more mail volume to your pla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711DEF-E5E1-9DC0-DE13-E58F2A62E1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3744883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</a:t>
            </a:r>
            <a:r>
              <a:rPr lang="en-GB" baseline="30000" dirty="0"/>
              <a:t>nd</a:t>
            </a:r>
            <a:r>
              <a:rPr lang="en-GB" dirty="0"/>
              <a:t> May 2025</a:t>
            </a:r>
          </a:p>
        </p:txBody>
      </p:sp>
      <p:sp>
        <p:nvSpPr>
          <p:cNvPr id="47" name="Slide Number Placeholder 3">
            <a:extLst>
              <a:ext uri="{FF2B5EF4-FFF2-40B4-BE49-F238E27FC236}">
                <a16:creationId xmlns:a16="http://schemas.microsoft.com/office/drawing/2014/main" id="{00FA94D1-A469-4B1A-9D12-9A6393F3DE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042FC4-4776-40FD-FB65-F34D5AA3D7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D1C345-F30B-A650-806F-B45FE4163F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E2C730-23D4-4FA5-233D-D88D27C78D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now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returning to mail after a break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BEE0F7-E441-6652-47D0-13AC4B68B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7D6AC0-7516-6C1A-CE25-A6217CE60C8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E775B-D062-640A-9EF2-12AD4761C9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E2ADCF-C8BE-9201-7C72-75D682A2DD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f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3B4F53-2B36-EDCB-EADB-564CA0EC8F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, and so o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For example, drive to digital, footfall to store or other softer brand measures?</a:t>
            </a:r>
          </a:p>
          <a:p>
            <a:endParaRPr lang="en-GB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735440-C1BB-77FD-CF33-162D731506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FF5F90-8937-992C-5BF4-AD0FDC3E47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E11DE1-0132-BA11-51DF-9040FB256E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3134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AD362DF-7773-9FDC-1F10-9D36D77AE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BDB914-80CC-4817-56AB-FF2DB68D2D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31852" y="364937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31852" y="445341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31852" y="524694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3A8AF72-7ABC-4608-849C-36584A602F4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31852" y="2823777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9" name="Help">
              <a:extLst>
                <a:ext uri="{FF2B5EF4-FFF2-40B4-BE49-F238E27FC236}">
                  <a16:creationId xmlns:a16="http://schemas.microsoft.com/office/drawing/2014/main" id="{85919E16-8C43-419E-B590-904510D6C2FF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4D2C0B74-AFBE-4571-B9D1-10DD266ED4F4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8C9606DF-4F70-4876-AAE2-AD19C8895C18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7355288-F3C1-D71B-15D7-AD9CCE3CF9AF}"/>
              </a:ext>
            </a:extLst>
          </p:cNvPr>
          <p:cNvSpPr/>
          <p:nvPr/>
        </p:nvSpPr>
        <p:spPr>
          <a:xfrm>
            <a:off x="4896051" y="1893496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either Standard or Economy  Mailmark Advertising Mail Letter or Large Letter format. Minimum volume is 10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67864D-A91B-B9EF-8567-EF7DF21151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31852" y="200759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8" name="Help">
              <a:extLst>
                <a:ext uri="{FF2B5EF4-FFF2-40B4-BE49-F238E27FC236}">
                  <a16:creationId xmlns:a16="http://schemas.microsoft.com/office/drawing/2014/main" id="{012A2446-341B-E1B9-0F97-36E5CBEAB43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Help">
              <a:extLst>
                <a:ext uri="{FF2B5EF4-FFF2-40B4-BE49-F238E27FC236}">
                  <a16:creationId xmlns:a16="http://schemas.microsoft.com/office/drawing/2014/main" id="{E051B277-9F54-FEE8-1D3C-DEBF27D8BFAC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Help">
              <a:extLst>
                <a:ext uri="{FF2B5EF4-FFF2-40B4-BE49-F238E27FC236}">
                  <a16:creationId xmlns:a16="http://schemas.microsoft.com/office/drawing/2014/main" id="{85CF931A-134A-7DDE-534F-52F16C0A96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896051" y="34938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896051" y="4301917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receive the standard TIS credit rate for any qualifying items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896051" y="51033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D39D008-618C-4EED-B32E-B5FD5F5DFBAB}"/>
              </a:ext>
            </a:extLst>
          </p:cNvPr>
          <p:cNvSpPr/>
          <p:nvPr/>
        </p:nvSpPr>
        <p:spPr>
          <a:xfrm>
            <a:off x="4896051" y="269104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Catalogue Mail Letter or Large Letter format. Minimum volume is 5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40ED7D-BD8B-88FA-EBDA-A0BB00746DFE}"/>
              </a:ext>
            </a:extLst>
          </p:cNvPr>
          <p:cNvSpPr/>
          <p:nvPr/>
        </p:nvSpPr>
        <p:spPr>
          <a:xfrm>
            <a:off x="1095801" y="1893496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Standard Advertising Mail Mailmark items and qualify for postage credits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095801" y="34938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095801" y="4301917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the minimum volume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095801" y="51033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5A089F-8EF8-47F3-87D1-1064E1E3F515}"/>
              </a:ext>
            </a:extLst>
          </p:cNvPr>
          <p:cNvSpPr/>
          <p:nvPr/>
        </p:nvSpPr>
        <p:spPr>
          <a:xfrm>
            <a:off x="1095801" y="2691048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Catalogue Mail items and qualify for postage credits?</a:t>
            </a:r>
          </a:p>
        </p:txBody>
      </p: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27651-EE4A-FBC7-346C-759D8A6D24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FC96B9-FA87-E847-BACB-7D76A2E1D8C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04450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41469AA-4029-2D96-B984-B87C1720F63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27510E-C66F-90AF-E6E3-CAF9F3614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rates with travel mai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ADC543-7FDC-B7C1-71B5-AD514FA6AE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53913" y="6363979"/>
            <a:ext cx="4680000" cy="133165"/>
          </a:xfrm>
        </p:spPr>
        <p:txBody>
          <a:bodyPr/>
          <a:lstStyle/>
          <a:p>
            <a:r>
              <a:rPr lang="en-GB" sz="1100" dirty="0"/>
              <a:t>Source:  JICMAIL, Item Database, 2024, Travel, Tourism &amp; Attractions, n=1.770</a:t>
            </a:r>
          </a:p>
        </p:txBody>
      </p:sp>
      <p:grpSp>
        <p:nvGrpSpPr>
          <p:cNvPr id="6" name="Engagemen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44C9803-AD2B-06BC-3D08-7D2126AAC943}"/>
              </a:ext>
            </a:extLst>
          </p:cNvPr>
          <p:cNvGrpSpPr>
            <a:grpSpLocks noChangeAspect="1"/>
          </p:cNvGrpSpPr>
          <p:nvPr/>
        </p:nvGrpSpPr>
        <p:grpSpPr>
          <a:xfrm>
            <a:off x="7594696" y="2894929"/>
            <a:ext cx="2344742" cy="2061760"/>
            <a:chOff x="5443539" y="6323013"/>
            <a:chExt cx="552450" cy="485775"/>
          </a:xfrm>
          <a:solidFill>
            <a:schemeClr val="tx1"/>
          </a:solidFill>
        </p:grpSpPr>
        <p:sp>
          <p:nvSpPr>
            <p:cNvPr id="7" name="Freeform 659">
              <a:extLst>
                <a:ext uri="{FF2B5EF4-FFF2-40B4-BE49-F238E27FC236}">
                  <a16:creationId xmlns:a16="http://schemas.microsoft.com/office/drawing/2014/main" id="{6F930AB5-3670-028D-C78C-C160E8527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6" y="6535738"/>
              <a:ext cx="17463" cy="34925"/>
            </a:xfrm>
            <a:custGeom>
              <a:avLst/>
              <a:gdLst>
                <a:gd name="T0" fmla="*/ 50 w 101"/>
                <a:gd name="T1" fmla="*/ 203 h 203"/>
                <a:gd name="T2" fmla="*/ 0 w 101"/>
                <a:gd name="T3" fmla="*/ 154 h 203"/>
                <a:gd name="T4" fmla="*/ 0 w 101"/>
                <a:gd name="T5" fmla="*/ 50 h 203"/>
                <a:gd name="T6" fmla="*/ 50 w 101"/>
                <a:gd name="T7" fmla="*/ 0 h 203"/>
                <a:gd name="T8" fmla="*/ 100 w 101"/>
                <a:gd name="T9" fmla="*/ 50 h 203"/>
                <a:gd name="T10" fmla="*/ 100 w 101"/>
                <a:gd name="T11" fmla="*/ 152 h 203"/>
                <a:gd name="T12" fmla="*/ 51 w 101"/>
                <a:gd name="T13" fmla="*/ 203 h 203"/>
                <a:gd name="T14" fmla="*/ 50 w 101"/>
                <a:gd name="T1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203">
                  <a:moveTo>
                    <a:pt x="50" y="203"/>
                  </a:moveTo>
                  <a:cubicBezTo>
                    <a:pt x="23" y="203"/>
                    <a:pt x="1" y="181"/>
                    <a:pt x="0" y="154"/>
                  </a:cubicBezTo>
                  <a:cubicBezTo>
                    <a:pt x="0" y="154"/>
                    <a:pt x="0" y="129"/>
                    <a:pt x="0" y="50"/>
                  </a:cubicBezTo>
                  <a:cubicBezTo>
                    <a:pt x="0" y="22"/>
                    <a:pt x="22" y="0"/>
                    <a:pt x="50" y="0"/>
                  </a:cubicBezTo>
                  <a:cubicBezTo>
                    <a:pt x="77" y="0"/>
                    <a:pt x="100" y="22"/>
                    <a:pt x="100" y="50"/>
                  </a:cubicBezTo>
                  <a:cubicBezTo>
                    <a:pt x="100" y="127"/>
                    <a:pt x="100" y="152"/>
                    <a:pt x="100" y="152"/>
                  </a:cubicBezTo>
                  <a:cubicBezTo>
                    <a:pt x="101" y="180"/>
                    <a:pt x="79" y="203"/>
                    <a:pt x="51" y="203"/>
                  </a:cubicBezTo>
                  <a:lnTo>
                    <a:pt x="50" y="2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660">
              <a:extLst>
                <a:ext uri="{FF2B5EF4-FFF2-40B4-BE49-F238E27FC236}">
                  <a16:creationId xmlns:a16="http://schemas.microsoft.com/office/drawing/2014/main" id="{1C776DDB-6C48-160C-AB33-44578738CE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0689" y="6432550"/>
              <a:ext cx="17463" cy="33338"/>
            </a:xfrm>
            <a:custGeom>
              <a:avLst/>
              <a:gdLst>
                <a:gd name="T0" fmla="*/ 52 w 102"/>
                <a:gd name="T1" fmla="*/ 193 h 193"/>
                <a:gd name="T2" fmla="*/ 2 w 102"/>
                <a:gd name="T3" fmla="*/ 144 h 193"/>
                <a:gd name="T4" fmla="*/ 1 w 102"/>
                <a:gd name="T5" fmla="*/ 51 h 193"/>
                <a:gd name="T6" fmla="*/ 50 w 102"/>
                <a:gd name="T7" fmla="*/ 0 h 193"/>
                <a:gd name="T8" fmla="*/ 51 w 102"/>
                <a:gd name="T9" fmla="*/ 0 h 193"/>
                <a:gd name="T10" fmla="*/ 101 w 102"/>
                <a:gd name="T11" fmla="*/ 50 h 193"/>
                <a:gd name="T12" fmla="*/ 102 w 102"/>
                <a:gd name="T13" fmla="*/ 143 h 193"/>
                <a:gd name="T14" fmla="*/ 52 w 102"/>
                <a:gd name="T15" fmla="*/ 193 h 193"/>
                <a:gd name="T16" fmla="*/ 52 w 102"/>
                <a:gd name="T17" fmla="*/ 193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2" h="193">
                  <a:moveTo>
                    <a:pt x="52" y="193"/>
                  </a:moveTo>
                  <a:cubicBezTo>
                    <a:pt x="24" y="193"/>
                    <a:pt x="2" y="171"/>
                    <a:pt x="2" y="144"/>
                  </a:cubicBezTo>
                  <a:lnTo>
                    <a:pt x="1" y="51"/>
                  </a:lnTo>
                  <a:cubicBezTo>
                    <a:pt x="0" y="23"/>
                    <a:pt x="22" y="1"/>
                    <a:pt x="50" y="0"/>
                  </a:cubicBezTo>
                  <a:lnTo>
                    <a:pt x="51" y="0"/>
                  </a:lnTo>
                  <a:cubicBezTo>
                    <a:pt x="78" y="0"/>
                    <a:pt x="100" y="22"/>
                    <a:pt x="101" y="50"/>
                  </a:cubicBezTo>
                  <a:lnTo>
                    <a:pt x="102" y="143"/>
                  </a:lnTo>
                  <a:cubicBezTo>
                    <a:pt x="102" y="170"/>
                    <a:pt x="80" y="193"/>
                    <a:pt x="52" y="193"/>
                  </a:cubicBezTo>
                  <a:lnTo>
                    <a:pt x="52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661">
              <a:extLst>
                <a:ext uri="{FF2B5EF4-FFF2-40B4-BE49-F238E27FC236}">
                  <a16:creationId xmlns:a16="http://schemas.microsoft.com/office/drawing/2014/main" id="{95669D5B-6F7F-8950-E33F-7E9005C89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3551" y="6492875"/>
              <a:ext cx="36513" cy="17463"/>
            </a:xfrm>
            <a:custGeom>
              <a:avLst/>
              <a:gdLst>
                <a:gd name="T0" fmla="*/ 162 w 212"/>
                <a:gd name="T1" fmla="*/ 100 h 100"/>
                <a:gd name="T2" fmla="*/ 162 w 212"/>
                <a:gd name="T3" fmla="*/ 100 h 100"/>
                <a:gd name="T4" fmla="*/ 50 w 212"/>
                <a:gd name="T5" fmla="*/ 100 h 100"/>
                <a:gd name="T6" fmla="*/ 0 w 212"/>
                <a:gd name="T7" fmla="*/ 50 h 100"/>
                <a:gd name="T8" fmla="*/ 50 w 212"/>
                <a:gd name="T9" fmla="*/ 0 h 100"/>
                <a:gd name="T10" fmla="*/ 162 w 212"/>
                <a:gd name="T11" fmla="*/ 0 h 100"/>
                <a:gd name="T12" fmla="*/ 212 w 212"/>
                <a:gd name="T13" fmla="*/ 50 h 100"/>
                <a:gd name="T14" fmla="*/ 162 w 212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100">
                  <a:moveTo>
                    <a:pt x="162" y="100"/>
                  </a:moveTo>
                  <a:lnTo>
                    <a:pt x="162" y="100"/>
                  </a:lnTo>
                  <a:cubicBezTo>
                    <a:pt x="162" y="100"/>
                    <a:pt x="128" y="100"/>
                    <a:pt x="50" y="100"/>
                  </a:cubicBezTo>
                  <a:cubicBezTo>
                    <a:pt x="23" y="100"/>
                    <a:pt x="0" y="78"/>
                    <a:pt x="0" y="50"/>
                  </a:cubicBezTo>
                  <a:cubicBezTo>
                    <a:pt x="0" y="22"/>
                    <a:pt x="23" y="0"/>
                    <a:pt x="50" y="0"/>
                  </a:cubicBezTo>
                  <a:cubicBezTo>
                    <a:pt x="128" y="0"/>
                    <a:pt x="162" y="0"/>
                    <a:pt x="162" y="0"/>
                  </a:cubicBezTo>
                  <a:cubicBezTo>
                    <a:pt x="190" y="0"/>
                    <a:pt x="212" y="23"/>
                    <a:pt x="212" y="50"/>
                  </a:cubicBezTo>
                  <a:cubicBezTo>
                    <a:pt x="212" y="78"/>
                    <a:pt x="189" y="100"/>
                    <a:pt x="162" y="1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662">
              <a:extLst>
                <a:ext uri="{FF2B5EF4-FFF2-40B4-BE49-F238E27FC236}">
                  <a16:creationId xmlns:a16="http://schemas.microsoft.com/office/drawing/2014/main" id="{ED877277-1441-F308-9187-2E2DD149D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3539" y="6492875"/>
              <a:ext cx="34925" cy="17463"/>
            </a:xfrm>
            <a:custGeom>
              <a:avLst/>
              <a:gdLst>
                <a:gd name="T0" fmla="*/ 50 w 210"/>
                <a:gd name="T1" fmla="*/ 100 h 100"/>
                <a:gd name="T2" fmla="*/ 0 w 210"/>
                <a:gd name="T3" fmla="*/ 50 h 100"/>
                <a:gd name="T4" fmla="*/ 49 w 210"/>
                <a:gd name="T5" fmla="*/ 0 h 100"/>
                <a:gd name="T6" fmla="*/ 160 w 210"/>
                <a:gd name="T7" fmla="*/ 0 h 100"/>
                <a:gd name="T8" fmla="*/ 210 w 210"/>
                <a:gd name="T9" fmla="*/ 50 h 100"/>
                <a:gd name="T10" fmla="*/ 160 w 210"/>
                <a:gd name="T11" fmla="*/ 100 h 100"/>
                <a:gd name="T12" fmla="*/ 50 w 210"/>
                <a:gd name="T13" fmla="*/ 100 h 100"/>
                <a:gd name="T14" fmla="*/ 50 w 210"/>
                <a:gd name="T15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100">
                  <a:moveTo>
                    <a:pt x="50" y="100"/>
                  </a:moveTo>
                  <a:cubicBezTo>
                    <a:pt x="22" y="100"/>
                    <a:pt x="0" y="78"/>
                    <a:pt x="0" y="50"/>
                  </a:cubicBezTo>
                  <a:cubicBezTo>
                    <a:pt x="0" y="23"/>
                    <a:pt x="22" y="0"/>
                    <a:pt x="49" y="0"/>
                  </a:cubicBezTo>
                  <a:cubicBezTo>
                    <a:pt x="49" y="0"/>
                    <a:pt x="79" y="0"/>
                    <a:pt x="160" y="0"/>
                  </a:cubicBezTo>
                  <a:cubicBezTo>
                    <a:pt x="188" y="0"/>
                    <a:pt x="210" y="22"/>
                    <a:pt x="210" y="50"/>
                  </a:cubicBezTo>
                  <a:cubicBezTo>
                    <a:pt x="210" y="78"/>
                    <a:pt x="188" y="100"/>
                    <a:pt x="160" y="100"/>
                  </a:cubicBezTo>
                  <a:cubicBezTo>
                    <a:pt x="79" y="100"/>
                    <a:pt x="50" y="100"/>
                    <a:pt x="50" y="100"/>
                  </a:cubicBezTo>
                  <a:lnTo>
                    <a:pt x="50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663">
              <a:extLst>
                <a:ext uri="{FF2B5EF4-FFF2-40B4-BE49-F238E27FC236}">
                  <a16:creationId xmlns:a16="http://schemas.microsoft.com/office/drawing/2014/main" id="{3B439E28-D488-10B4-76BA-28286FACD7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57826" y="6448425"/>
              <a:ext cx="104775" cy="104775"/>
            </a:xfrm>
            <a:custGeom>
              <a:avLst/>
              <a:gdLst>
                <a:gd name="T0" fmla="*/ 125 w 617"/>
                <a:gd name="T1" fmla="*/ 310 h 618"/>
                <a:gd name="T2" fmla="*/ 316 w 617"/>
                <a:gd name="T3" fmla="*/ 496 h 618"/>
                <a:gd name="T4" fmla="*/ 492 w 617"/>
                <a:gd name="T5" fmla="*/ 307 h 618"/>
                <a:gd name="T6" fmla="*/ 302 w 617"/>
                <a:gd name="T7" fmla="*/ 122 h 618"/>
                <a:gd name="T8" fmla="*/ 125 w 617"/>
                <a:gd name="T9" fmla="*/ 310 h 618"/>
                <a:gd name="T10" fmla="*/ 318 w 617"/>
                <a:gd name="T11" fmla="*/ 618 h 618"/>
                <a:gd name="T12" fmla="*/ 283 w 617"/>
                <a:gd name="T13" fmla="*/ 604 h 618"/>
                <a:gd name="T14" fmla="*/ 20 w 617"/>
                <a:gd name="T15" fmla="*/ 348 h 618"/>
                <a:gd name="T16" fmla="*/ 18 w 617"/>
                <a:gd name="T17" fmla="*/ 278 h 618"/>
                <a:gd name="T18" fmla="*/ 265 w 617"/>
                <a:gd name="T19" fmla="*/ 16 h 618"/>
                <a:gd name="T20" fmla="*/ 300 w 617"/>
                <a:gd name="T21" fmla="*/ 0 h 618"/>
                <a:gd name="T22" fmla="*/ 336 w 617"/>
                <a:gd name="T23" fmla="*/ 15 h 618"/>
                <a:gd name="T24" fmla="*/ 597 w 617"/>
                <a:gd name="T25" fmla="*/ 270 h 618"/>
                <a:gd name="T26" fmla="*/ 599 w 617"/>
                <a:gd name="T27" fmla="*/ 339 h 618"/>
                <a:gd name="T28" fmla="*/ 354 w 617"/>
                <a:gd name="T29" fmla="*/ 602 h 618"/>
                <a:gd name="T30" fmla="*/ 319 w 617"/>
                <a:gd name="T31" fmla="*/ 618 h 618"/>
                <a:gd name="T32" fmla="*/ 318 w 617"/>
                <a:gd name="T33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17" h="618">
                  <a:moveTo>
                    <a:pt x="125" y="310"/>
                  </a:moveTo>
                  <a:lnTo>
                    <a:pt x="316" y="496"/>
                  </a:lnTo>
                  <a:lnTo>
                    <a:pt x="492" y="307"/>
                  </a:lnTo>
                  <a:lnTo>
                    <a:pt x="302" y="122"/>
                  </a:lnTo>
                  <a:lnTo>
                    <a:pt x="125" y="310"/>
                  </a:lnTo>
                  <a:close/>
                  <a:moveTo>
                    <a:pt x="318" y="618"/>
                  </a:moveTo>
                  <a:cubicBezTo>
                    <a:pt x="305" y="618"/>
                    <a:pt x="292" y="613"/>
                    <a:pt x="283" y="604"/>
                  </a:cubicBezTo>
                  <a:lnTo>
                    <a:pt x="20" y="348"/>
                  </a:lnTo>
                  <a:cubicBezTo>
                    <a:pt x="0" y="329"/>
                    <a:pt x="0" y="298"/>
                    <a:pt x="18" y="278"/>
                  </a:cubicBezTo>
                  <a:lnTo>
                    <a:pt x="265" y="16"/>
                  </a:lnTo>
                  <a:cubicBezTo>
                    <a:pt x="274" y="6"/>
                    <a:pt x="287" y="1"/>
                    <a:pt x="300" y="0"/>
                  </a:cubicBezTo>
                  <a:cubicBezTo>
                    <a:pt x="313" y="0"/>
                    <a:pt x="326" y="5"/>
                    <a:pt x="336" y="15"/>
                  </a:cubicBezTo>
                  <a:lnTo>
                    <a:pt x="597" y="270"/>
                  </a:lnTo>
                  <a:cubicBezTo>
                    <a:pt x="616" y="289"/>
                    <a:pt x="617" y="320"/>
                    <a:pt x="599" y="339"/>
                  </a:cubicBezTo>
                  <a:lnTo>
                    <a:pt x="354" y="602"/>
                  </a:lnTo>
                  <a:cubicBezTo>
                    <a:pt x="345" y="612"/>
                    <a:pt x="332" y="618"/>
                    <a:pt x="319" y="618"/>
                  </a:cubicBezTo>
                  <a:lnTo>
                    <a:pt x="318" y="6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664">
              <a:extLst>
                <a:ext uri="{FF2B5EF4-FFF2-40B4-BE49-F238E27FC236}">
                  <a16:creationId xmlns:a16="http://schemas.microsoft.com/office/drawing/2014/main" id="{2280FFC7-149B-CCA6-A99E-F2E90F945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701" y="6383338"/>
              <a:ext cx="15875" cy="26988"/>
            </a:xfrm>
            <a:custGeom>
              <a:avLst/>
              <a:gdLst>
                <a:gd name="T0" fmla="*/ 1 w 101"/>
                <a:gd name="T1" fmla="*/ 162 h 162"/>
                <a:gd name="T2" fmla="*/ 1 w 101"/>
                <a:gd name="T3" fmla="*/ 112 h 162"/>
                <a:gd name="T4" fmla="*/ 0 w 101"/>
                <a:gd name="T5" fmla="*/ 50 h 162"/>
                <a:gd name="T6" fmla="*/ 0 w 101"/>
                <a:gd name="T7" fmla="*/ 0 h 162"/>
                <a:gd name="T8" fmla="*/ 100 w 101"/>
                <a:gd name="T9" fmla="*/ 0 h 162"/>
                <a:gd name="T10" fmla="*/ 100 w 101"/>
                <a:gd name="T11" fmla="*/ 50 h 162"/>
                <a:gd name="T12" fmla="*/ 101 w 101"/>
                <a:gd name="T13" fmla="*/ 110 h 162"/>
                <a:gd name="T14" fmla="*/ 101 w 101"/>
                <a:gd name="T15" fmla="*/ 160 h 162"/>
                <a:gd name="T16" fmla="*/ 1 w 101"/>
                <a:gd name="T17" fmla="*/ 16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1" h="162">
                  <a:moveTo>
                    <a:pt x="1" y="162"/>
                  </a:moveTo>
                  <a:lnTo>
                    <a:pt x="1" y="112"/>
                  </a:lnTo>
                  <a:cubicBezTo>
                    <a:pt x="1" y="112"/>
                    <a:pt x="0" y="97"/>
                    <a:pt x="0" y="50"/>
                  </a:cubicBezTo>
                  <a:lnTo>
                    <a:pt x="0" y="0"/>
                  </a:lnTo>
                  <a:lnTo>
                    <a:pt x="100" y="0"/>
                  </a:lnTo>
                  <a:lnTo>
                    <a:pt x="100" y="50"/>
                  </a:lnTo>
                  <a:cubicBezTo>
                    <a:pt x="100" y="95"/>
                    <a:pt x="101" y="110"/>
                    <a:pt x="101" y="110"/>
                  </a:cubicBezTo>
                  <a:lnTo>
                    <a:pt x="101" y="160"/>
                  </a:lnTo>
                  <a:lnTo>
                    <a:pt x="1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665">
              <a:extLst>
                <a:ext uri="{FF2B5EF4-FFF2-40B4-BE49-F238E27FC236}">
                  <a16:creationId xmlns:a16="http://schemas.microsoft.com/office/drawing/2014/main" id="{E94D3767-CE46-5D9C-BE51-E35E8D86F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54701" y="6323013"/>
              <a:ext cx="17463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66">
              <a:extLst>
                <a:ext uri="{FF2B5EF4-FFF2-40B4-BE49-F238E27FC236}">
                  <a16:creationId xmlns:a16="http://schemas.microsoft.com/office/drawing/2014/main" id="{ED24DAA5-9E86-5AA3-432D-9351E38527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8514" y="6357938"/>
              <a:ext cx="2857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667">
              <a:extLst>
                <a:ext uri="{FF2B5EF4-FFF2-40B4-BE49-F238E27FC236}">
                  <a16:creationId xmlns:a16="http://schemas.microsoft.com/office/drawing/2014/main" id="{95DE9039-B5B7-5644-FA6A-44CE080AC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9776" y="6357938"/>
              <a:ext cx="26988" cy="17463"/>
            </a:xfrm>
            <a:custGeom>
              <a:avLst/>
              <a:gdLst>
                <a:gd name="T0" fmla="*/ 0 w 17"/>
                <a:gd name="T1" fmla="*/ 11 h 11"/>
                <a:gd name="T2" fmla="*/ 0 w 17"/>
                <a:gd name="T3" fmla="*/ 0 h 11"/>
                <a:gd name="T4" fmla="*/ 5 w 17"/>
                <a:gd name="T5" fmla="*/ 0 h 11"/>
                <a:gd name="T6" fmla="*/ 12 w 17"/>
                <a:gd name="T7" fmla="*/ 0 h 11"/>
                <a:gd name="T8" fmla="*/ 17 w 17"/>
                <a:gd name="T9" fmla="*/ 0 h 11"/>
                <a:gd name="T10" fmla="*/ 17 w 17"/>
                <a:gd name="T11" fmla="*/ 11 h 11"/>
                <a:gd name="T12" fmla="*/ 12 w 17"/>
                <a:gd name="T13" fmla="*/ 11 h 11"/>
                <a:gd name="T14" fmla="*/ 5 w 17"/>
                <a:gd name="T15" fmla="*/ 11 h 11"/>
                <a:gd name="T16" fmla="*/ 0 w 17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1">
                  <a:moveTo>
                    <a:pt x="0" y="1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12" y="0"/>
                  </a:lnTo>
                  <a:lnTo>
                    <a:pt x="17" y="0"/>
                  </a:lnTo>
                  <a:lnTo>
                    <a:pt x="17" y="11"/>
                  </a:lnTo>
                  <a:lnTo>
                    <a:pt x="12" y="11"/>
                  </a:lnTo>
                  <a:lnTo>
                    <a:pt x="5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668">
              <a:extLst>
                <a:ext uri="{FF2B5EF4-FFF2-40B4-BE49-F238E27FC236}">
                  <a16:creationId xmlns:a16="http://schemas.microsoft.com/office/drawing/2014/main" id="{A48CF5CA-2881-5F91-53A5-1AF4827264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24539" y="6326188"/>
              <a:ext cx="74613" cy="77788"/>
            </a:xfrm>
            <a:custGeom>
              <a:avLst/>
              <a:gdLst>
                <a:gd name="T0" fmla="*/ 140 w 437"/>
                <a:gd name="T1" fmla="*/ 236 h 460"/>
                <a:gd name="T2" fmla="*/ 223 w 437"/>
                <a:gd name="T3" fmla="*/ 317 h 460"/>
                <a:gd name="T4" fmla="*/ 301 w 437"/>
                <a:gd name="T5" fmla="*/ 233 h 460"/>
                <a:gd name="T6" fmla="*/ 224 w 437"/>
                <a:gd name="T7" fmla="*/ 147 h 460"/>
                <a:gd name="T8" fmla="*/ 140 w 437"/>
                <a:gd name="T9" fmla="*/ 236 h 460"/>
                <a:gd name="T10" fmla="*/ 227 w 437"/>
                <a:gd name="T11" fmla="*/ 460 h 460"/>
                <a:gd name="T12" fmla="*/ 0 w 437"/>
                <a:gd name="T13" fmla="*/ 239 h 460"/>
                <a:gd name="T14" fmla="*/ 226 w 437"/>
                <a:gd name="T15" fmla="*/ 0 h 460"/>
                <a:gd name="T16" fmla="*/ 437 w 437"/>
                <a:gd name="T17" fmla="*/ 234 h 460"/>
                <a:gd name="T18" fmla="*/ 227 w 437"/>
                <a:gd name="T19" fmla="*/ 460 h 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7" h="460">
                  <a:moveTo>
                    <a:pt x="140" y="236"/>
                  </a:moveTo>
                  <a:lnTo>
                    <a:pt x="223" y="317"/>
                  </a:lnTo>
                  <a:lnTo>
                    <a:pt x="301" y="233"/>
                  </a:lnTo>
                  <a:lnTo>
                    <a:pt x="224" y="147"/>
                  </a:lnTo>
                  <a:lnTo>
                    <a:pt x="140" y="236"/>
                  </a:lnTo>
                  <a:close/>
                  <a:moveTo>
                    <a:pt x="227" y="460"/>
                  </a:moveTo>
                  <a:lnTo>
                    <a:pt x="0" y="239"/>
                  </a:lnTo>
                  <a:lnTo>
                    <a:pt x="226" y="0"/>
                  </a:lnTo>
                  <a:lnTo>
                    <a:pt x="437" y="234"/>
                  </a:lnTo>
                  <a:lnTo>
                    <a:pt x="227" y="4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69">
              <a:extLst>
                <a:ext uri="{FF2B5EF4-FFF2-40B4-BE49-F238E27FC236}">
                  <a16:creationId xmlns:a16="http://schemas.microsoft.com/office/drawing/2014/main" id="{59C4304E-EBBD-CFD8-0229-4910DB9349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53076" y="6583363"/>
              <a:ext cx="373063" cy="225425"/>
            </a:xfrm>
            <a:custGeom>
              <a:avLst/>
              <a:gdLst>
                <a:gd name="T0" fmla="*/ 100 w 2210"/>
                <a:gd name="T1" fmla="*/ 136 h 1335"/>
                <a:gd name="T2" fmla="*/ 100 w 2210"/>
                <a:gd name="T3" fmla="*/ 1198 h 1335"/>
                <a:gd name="T4" fmla="*/ 1042 w 2210"/>
                <a:gd name="T5" fmla="*/ 647 h 1335"/>
                <a:gd name="T6" fmla="*/ 100 w 2210"/>
                <a:gd name="T7" fmla="*/ 136 h 1335"/>
                <a:gd name="T8" fmla="*/ 235 w 2210"/>
                <a:gd name="T9" fmla="*/ 1235 h 1335"/>
                <a:gd name="T10" fmla="*/ 2110 w 2210"/>
                <a:gd name="T11" fmla="*/ 1235 h 1335"/>
                <a:gd name="T12" fmla="*/ 2110 w 2210"/>
                <a:gd name="T13" fmla="*/ 139 h 1335"/>
                <a:gd name="T14" fmla="*/ 235 w 2210"/>
                <a:gd name="T15" fmla="*/ 1235 h 1335"/>
                <a:gd name="T16" fmla="*/ 50 w 2210"/>
                <a:gd name="T17" fmla="*/ 1335 h 1335"/>
                <a:gd name="T18" fmla="*/ 45 w 2210"/>
                <a:gd name="T19" fmla="*/ 1335 h 1335"/>
                <a:gd name="T20" fmla="*/ 25 w 2210"/>
                <a:gd name="T21" fmla="*/ 1328 h 1335"/>
                <a:gd name="T22" fmla="*/ 9 w 2210"/>
                <a:gd name="T23" fmla="*/ 1314 h 1335"/>
                <a:gd name="T24" fmla="*/ 1 w 2210"/>
                <a:gd name="T25" fmla="*/ 1298 h 1335"/>
                <a:gd name="T26" fmla="*/ 0 w 2210"/>
                <a:gd name="T27" fmla="*/ 1284 h 1335"/>
                <a:gd name="T28" fmla="*/ 0 w 2210"/>
                <a:gd name="T29" fmla="*/ 52 h 1335"/>
                <a:gd name="T30" fmla="*/ 24 w 2210"/>
                <a:gd name="T31" fmla="*/ 9 h 1335"/>
                <a:gd name="T32" fmla="*/ 74 w 2210"/>
                <a:gd name="T33" fmla="*/ 9 h 1335"/>
                <a:gd name="T34" fmla="*/ 1133 w 2210"/>
                <a:gd name="T35" fmla="*/ 583 h 1335"/>
                <a:gd name="T36" fmla="*/ 1142 w 2210"/>
                <a:gd name="T37" fmla="*/ 589 h 1335"/>
                <a:gd name="T38" fmla="*/ 2135 w 2210"/>
                <a:gd name="T39" fmla="*/ 9 h 1335"/>
                <a:gd name="T40" fmla="*/ 2185 w 2210"/>
                <a:gd name="T41" fmla="*/ 9 h 1335"/>
                <a:gd name="T42" fmla="*/ 2210 w 2210"/>
                <a:gd name="T43" fmla="*/ 52 h 1335"/>
                <a:gd name="T44" fmla="*/ 2210 w 2210"/>
                <a:gd name="T45" fmla="*/ 1285 h 1335"/>
                <a:gd name="T46" fmla="*/ 2160 w 2210"/>
                <a:gd name="T47" fmla="*/ 1335 h 1335"/>
                <a:gd name="T48" fmla="*/ 51 w 2210"/>
                <a:gd name="T49" fmla="*/ 1335 h 1335"/>
                <a:gd name="T50" fmla="*/ 50 w 2210"/>
                <a:gd name="T51" fmla="*/ 13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210" h="1335">
                  <a:moveTo>
                    <a:pt x="100" y="136"/>
                  </a:moveTo>
                  <a:lnTo>
                    <a:pt x="100" y="1198"/>
                  </a:lnTo>
                  <a:lnTo>
                    <a:pt x="1042" y="647"/>
                  </a:lnTo>
                  <a:lnTo>
                    <a:pt x="100" y="136"/>
                  </a:lnTo>
                  <a:close/>
                  <a:moveTo>
                    <a:pt x="235" y="1235"/>
                  </a:moveTo>
                  <a:lnTo>
                    <a:pt x="2110" y="1235"/>
                  </a:lnTo>
                  <a:lnTo>
                    <a:pt x="2110" y="139"/>
                  </a:lnTo>
                  <a:lnTo>
                    <a:pt x="235" y="1235"/>
                  </a:lnTo>
                  <a:close/>
                  <a:moveTo>
                    <a:pt x="50" y="1335"/>
                  </a:moveTo>
                  <a:cubicBezTo>
                    <a:pt x="48" y="1335"/>
                    <a:pt x="47" y="1335"/>
                    <a:pt x="45" y="1335"/>
                  </a:cubicBezTo>
                  <a:cubicBezTo>
                    <a:pt x="38" y="1334"/>
                    <a:pt x="31" y="1332"/>
                    <a:pt x="25" y="1328"/>
                  </a:cubicBezTo>
                  <a:cubicBezTo>
                    <a:pt x="19" y="1325"/>
                    <a:pt x="14" y="1320"/>
                    <a:pt x="9" y="1314"/>
                  </a:cubicBezTo>
                  <a:cubicBezTo>
                    <a:pt x="6" y="1310"/>
                    <a:pt x="3" y="1304"/>
                    <a:pt x="1" y="1298"/>
                  </a:cubicBezTo>
                  <a:cubicBezTo>
                    <a:pt x="0" y="1294"/>
                    <a:pt x="0" y="1289"/>
                    <a:pt x="0" y="1284"/>
                  </a:cubicBezTo>
                  <a:lnTo>
                    <a:pt x="0" y="52"/>
                  </a:lnTo>
                  <a:cubicBezTo>
                    <a:pt x="0" y="35"/>
                    <a:pt x="9" y="19"/>
                    <a:pt x="24" y="9"/>
                  </a:cubicBezTo>
                  <a:cubicBezTo>
                    <a:pt x="39" y="0"/>
                    <a:pt x="58" y="0"/>
                    <a:pt x="74" y="9"/>
                  </a:cubicBezTo>
                  <a:lnTo>
                    <a:pt x="1133" y="583"/>
                  </a:lnTo>
                  <a:cubicBezTo>
                    <a:pt x="1136" y="585"/>
                    <a:pt x="1139" y="587"/>
                    <a:pt x="1142" y="589"/>
                  </a:cubicBezTo>
                  <a:lnTo>
                    <a:pt x="2135" y="9"/>
                  </a:lnTo>
                  <a:cubicBezTo>
                    <a:pt x="2150" y="0"/>
                    <a:pt x="2169" y="0"/>
                    <a:pt x="2185" y="9"/>
                  </a:cubicBezTo>
                  <a:cubicBezTo>
                    <a:pt x="2201" y="18"/>
                    <a:pt x="2210" y="34"/>
                    <a:pt x="2210" y="52"/>
                  </a:cubicBezTo>
                  <a:lnTo>
                    <a:pt x="2210" y="1285"/>
                  </a:lnTo>
                  <a:cubicBezTo>
                    <a:pt x="2210" y="1313"/>
                    <a:pt x="2188" y="1335"/>
                    <a:pt x="2160" y="1335"/>
                  </a:cubicBezTo>
                  <a:lnTo>
                    <a:pt x="51" y="1335"/>
                  </a:lnTo>
                  <a:lnTo>
                    <a:pt x="50" y="13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670">
              <a:extLst>
                <a:ext uri="{FF2B5EF4-FFF2-40B4-BE49-F238E27FC236}">
                  <a16:creationId xmlns:a16="http://schemas.microsoft.com/office/drawing/2014/main" id="{97C22585-1911-B5F4-5EC5-7B507E5DD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601" y="6729413"/>
              <a:ext cx="106363" cy="74613"/>
            </a:xfrm>
            <a:custGeom>
              <a:avLst/>
              <a:gdLst>
                <a:gd name="T0" fmla="*/ 570 w 627"/>
                <a:gd name="T1" fmla="*/ 437 h 437"/>
                <a:gd name="T2" fmla="*/ 543 w 627"/>
                <a:gd name="T3" fmla="*/ 429 h 437"/>
                <a:gd name="T4" fmla="*/ 30 w 627"/>
                <a:gd name="T5" fmla="*/ 100 h 437"/>
                <a:gd name="T6" fmla="*/ 14 w 627"/>
                <a:gd name="T7" fmla="*/ 31 h 437"/>
                <a:gd name="T8" fmla="*/ 83 w 627"/>
                <a:gd name="T9" fmla="*/ 15 h 437"/>
                <a:gd name="T10" fmla="*/ 598 w 627"/>
                <a:gd name="T11" fmla="*/ 345 h 437"/>
                <a:gd name="T12" fmla="*/ 612 w 627"/>
                <a:gd name="T13" fmla="*/ 414 h 437"/>
                <a:gd name="T14" fmla="*/ 570 w 627"/>
                <a:gd name="T15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27" h="437">
                  <a:moveTo>
                    <a:pt x="570" y="437"/>
                  </a:moveTo>
                  <a:cubicBezTo>
                    <a:pt x="561" y="437"/>
                    <a:pt x="552" y="434"/>
                    <a:pt x="543" y="429"/>
                  </a:cubicBezTo>
                  <a:cubicBezTo>
                    <a:pt x="540" y="427"/>
                    <a:pt x="265" y="247"/>
                    <a:pt x="30" y="100"/>
                  </a:cubicBezTo>
                  <a:cubicBezTo>
                    <a:pt x="7" y="85"/>
                    <a:pt x="0" y="54"/>
                    <a:pt x="14" y="31"/>
                  </a:cubicBezTo>
                  <a:cubicBezTo>
                    <a:pt x="29" y="7"/>
                    <a:pt x="60" y="0"/>
                    <a:pt x="83" y="15"/>
                  </a:cubicBezTo>
                  <a:cubicBezTo>
                    <a:pt x="319" y="163"/>
                    <a:pt x="595" y="343"/>
                    <a:pt x="598" y="345"/>
                  </a:cubicBezTo>
                  <a:cubicBezTo>
                    <a:pt x="621" y="360"/>
                    <a:pt x="627" y="391"/>
                    <a:pt x="612" y="414"/>
                  </a:cubicBezTo>
                  <a:cubicBezTo>
                    <a:pt x="603" y="429"/>
                    <a:pt x="587" y="437"/>
                    <a:pt x="570" y="43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671">
              <a:extLst>
                <a:ext uri="{FF2B5EF4-FFF2-40B4-BE49-F238E27FC236}">
                  <a16:creationId xmlns:a16="http://schemas.microsoft.com/office/drawing/2014/main" id="{085318AF-427A-F843-1E07-757F1DCA5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4376" y="6715125"/>
              <a:ext cx="20638" cy="19050"/>
            </a:xfrm>
            <a:custGeom>
              <a:avLst/>
              <a:gdLst>
                <a:gd name="T0" fmla="*/ 68 w 125"/>
                <a:gd name="T1" fmla="*/ 113 h 113"/>
                <a:gd name="T2" fmla="*/ 41 w 125"/>
                <a:gd name="T3" fmla="*/ 106 h 113"/>
                <a:gd name="T4" fmla="*/ 31 w 125"/>
                <a:gd name="T5" fmla="*/ 99 h 113"/>
                <a:gd name="T6" fmla="*/ 15 w 125"/>
                <a:gd name="T7" fmla="*/ 30 h 113"/>
                <a:gd name="T8" fmla="*/ 83 w 125"/>
                <a:gd name="T9" fmla="*/ 14 h 113"/>
                <a:gd name="T10" fmla="*/ 94 w 125"/>
                <a:gd name="T11" fmla="*/ 21 h 113"/>
                <a:gd name="T12" fmla="*/ 110 w 125"/>
                <a:gd name="T13" fmla="*/ 89 h 113"/>
                <a:gd name="T14" fmla="*/ 68 w 125"/>
                <a:gd name="T15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5" h="113">
                  <a:moveTo>
                    <a:pt x="68" y="113"/>
                  </a:moveTo>
                  <a:cubicBezTo>
                    <a:pt x="59" y="113"/>
                    <a:pt x="50" y="111"/>
                    <a:pt x="41" y="106"/>
                  </a:cubicBezTo>
                  <a:lnTo>
                    <a:pt x="31" y="99"/>
                  </a:lnTo>
                  <a:cubicBezTo>
                    <a:pt x="7" y="85"/>
                    <a:pt x="0" y="54"/>
                    <a:pt x="15" y="30"/>
                  </a:cubicBezTo>
                  <a:cubicBezTo>
                    <a:pt x="29" y="7"/>
                    <a:pt x="60" y="0"/>
                    <a:pt x="83" y="14"/>
                  </a:cubicBezTo>
                  <a:lnTo>
                    <a:pt x="94" y="21"/>
                  </a:lnTo>
                  <a:cubicBezTo>
                    <a:pt x="117" y="35"/>
                    <a:pt x="125" y="66"/>
                    <a:pt x="110" y="89"/>
                  </a:cubicBezTo>
                  <a:cubicBezTo>
                    <a:pt x="101" y="105"/>
                    <a:pt x="84" y="113"/>
                    <a:pt x="68" y="1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672">
              <a:extLst>
                <a:ext uri="{FF2B5EF4-FFF2-40B4-BE49-F238E27FC236}">
                  <a16:creationId xmlns:a16="http://schemas.microsoft.com/office/drawing/2014/main" id="{3FB41820-B6CE-7937-97C0-28E16CE33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2151" y="6702425"/>
              <a:ext cx="20638" cy="19050"/>
            </a:xfrm>
            <a:custGeom>
              <a:avLst/>
              <a:gdLst>
                <a:gd name="T0" fmla="*/ 67 w 124"/>
                <a:gd name="T1" fmla="*/ 114 h 114"/>
                <a:gd name="T2" fmla="*/ 41 w 124"/>
                <a:gd name="T3" fmla="*/ 106 h 114"/>
                <a:gd name="T4" fmla="*/ 31 w 124"/>
                <a:gd name="T5" fmla="*/ 100 h 114"/>
                <a:gd name="T6" fmla="*/ 14 w 124"/>
                <a:gd name="T7" fmla="*/ 31 h 114"/>
                <a:gd name="T8" fmla="*/ 83 w 124"/>
                <a:gd name="T9" fmla="*/ 15 h 114"/>
                <a:gd name="T10" fmla="*/ 94 w 124"/>
                <a:gd name="T11" fmla="*/ 21 h 114"/>
                <a:gd name="T12" fmla="*/ 110 w 124"/>
                <a:gd name="T13" fmla="*/ 90 h 114"/>
                <a:gd name="T14" fmla="*/ 67 w 124"/>
                <a:gd name="T15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14">
                  <a:moveTo>
                    <a:pt x="67" y="114"/>
                  </a:moveTo>
                  <a:cubicBezTo>
                    <a:pt x="58" y="114"/>
                    <a:pt x="49" y="111"/>
                    <a:pt x="41" y="106"/>
                  </a:cubicBezTo>
                  <a:lnTo>
                    <a:pt x="31" y="100"/>
                  </a:lnTo>
                  <a:cubicBezTo>
                    <a:pt x="7" y="85"/>
                    <a:pt x="0" y="55"/>
                    <a:pt x="14" y="31"/>
                  </a:cubicBezTo>
                  <a:cubicBezTo>
                    <a:pt x="29" y="8"/>
                    <a:pt x="60" y="0"/>
                    <a:pt x="83" y="15"/>
                  </a:cubicBezTo>
                  <a:lnTo>
                    <a:pt x="94" y="21"/>
                  </a:lnTo>
                  <a:cubicBezTo>
                    <a:pt x="117" y="36"/>
                    <a:pt x="124" y="66"/>
                    <a:pt x="110" y="90"/>
                  </a:cubicBezTo>
                  <a:cubicBezTo>
                    <a:pt x="101" y="105"/>
                    <a:pt x="84" y="114"/>
                    <a:pt x="67" y="11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673">
              <a:extLst>
                <a:ext uri="{FF2B5EF4-FFF2-40B4-BE49-F238E27FC236}">
                  <a16:creationId xmlns:a16="http://schemas.microsoft.com/office/drawing/2014/main" id="{EA0B6D68-0FC0-55A4-0FE6-152639094C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251" y="6554788"/>
              <a:ext cx="55563" cy="42863"/>
            </a:xfrm>
            <a:custGeom>
              <a:avLst/>
              <a:gdLst>
                <a:gd name="T0" fmla="*/ 57 w 330"/>
                <a:gd name="T1" fmla="*/ 257 h 257"/>
                <a:gd name="T2" fmla="*/ 16 w 330"/>
                <a:gd name="T3" fmla="*/ 235 h 257"/>
                <a:gd name="T4" fmla="*/ 29 w 330"/>
                <a:gd name="T5" fmla="*/ 166 h 257"/>
                <a:gd name="T6" fmla="*/ 245 w 330"/>
                <a:gd name="T7" fmla="*/ 16 h 257"/>
                <a:gd name="T8" fmla="*/ 314 w 330"/>
                <a:gd name="T9" fmla="*/ 29 h 257"/>
                <a:gd name="T10" fmla="*/ 302 w 330"/>
                <a:gd name="T11" fmla="*/ 98 h 257"/>
                <a:gd name="T12" fmla="*/ 86 w 330"/>
                <a:gd name="T13" fmla="*/ 248 h 257"/>
                <a:gd name="T14" fmla="*/ 57 w 330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0" h="257">
                  <a:moveTo>
                    <a:pt x="57" y="257"/>
                  </a:moveTo>
                  <a:cubicBezTo>
                    <a:pt x="41" y="257"/>
                    <a:pt x="26" y="249"/>
                    <a:pt x="16" y="235"/>
                  </a:cubicBezTo>
                  <a:cubicBezTo>
                    <a:pt x="0" y="213"/>
                    <a:pt x="6" y="182"/>
                    <a:pt x="29" y="166"/>
                  </a:cubicBezTo>
                  <a:lnTo>
                    <a:pt x="245" y="16"/>
                  </a:lnTo>
                  <a:cubicBezTo>
                    <a:pt x="267" y="0"/>
                    <a:pt x="298" y="6"/>
                    <a:pt x="314" y="29"/>
                  </a:cubicBezTo>
                  <a:cubicBezTo>
                    <a:pt x="330" y="51"/>
                    <a:pt x="324" y="82"/>
                    <a:pt x="302" y="98"/>
                  </a:cubicBezTo>
                  <a:lnTo>
                    <a:pt x="86" y="248"/>
                  </a:lnTo>
                  <a:cubicBezTo>
                    <a:pt x="77" y="254"/>
                    <a:pt x="67" y="257"/>
                    <a:pt x="57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674">
              <a:extLst>
                <a:ext uri="{FF2B5EF4-FFF2-40B4-BE49-F238E27FC236}">
                  <a16:creationId xmlns:a16="http://schemas.microsoft.com/office/drawing/2014/main" id="{DC08C0E2-E657-228F-B611-56A5BA75C8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4351" y="6440488"/>
              <a:ext cx="293688" cy="139700"/>
            </a:xfrm>
            <a:custGeom>
              <a:avLst/>
              <a:gdLst>
                <a:gd name="T0" fmla="*/ 11 w 185"/>
                <a:gd name="T1" fmla="*/ 88 h 88"/>
                <a:gd name="T2" fmla="*/ 0 w 185"/>
                <a:gd name="T3" fmla="*/ 88 h 88"/>
                <a:gd name="T4" fmla="*/ 0 w 185"/>
                <a:gd name="T5" fmla="*/ 0 h 88"/>
                <a:gd name="T6" fmla="*/ 185 w 185"/>
                <a:gd name="T7" fmla="*/ 0 h 88"/>
                <a:gd name="T8" fmla="*/ 185 w 185"/>
                <a:gd name="T9" fmla="*/ 86 h 88"/>
                <a:gd name="T10" fmla="*/ 175 w 185"/>
                <a:gd name="T11" fmla="*/ 86 h 88"/>
                <a:gd name="T12" fmla="*/ 175 w 185"/>
                <a:gd name="T13" fmla="*/ 11 h 88"/>
                <a:gd name="T14" fmla="*/ 11 w 185"/>
                <a:gd name="T15" fmla="*/ 11 h 88"/>
                <a:gd name="T16" fmla="*/ 11 w 185"/>
                <a:gd name="T17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5" h="88">
                  <a:moveTo>
                    <a:pt x="11" y="88"/>
                  </a:moveTo>
                  <a:lnTo>
                    <a:pt x="0" y="88"/>
                  </a:lnTo>
                  <a:lnTo>
                    <a:pt x="0" y="0"/>
                  </a:lnTo>
                  <a:lnTo>
                    <a:pt x="185" y="0"/>
                  </a:lnTo>
                  <a:lnTo>
                    <a:pt x="185" y="86"/>
                  </a:lnTo>
                  <a:lnTo>
                    <a:pt x="175" y="86"/>
                  </a:lnTo>
                  <a:lnTo>
                    <a:pt x="175" y="11"/>
                  </a:lnTo>
                  <a:lnTo>
                    <a:pt x="11" y="11"/>
                  </a:lnTo>
                  <a:lnTo>
                    <a:pt x="1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675">
              <a:extLst>
                <a:ext uri="{FF2B5EF4-FFF2-40B4-BE49-F238E27FC236}">
                  <a16:creationId xmlns:a16="http://schemas.microsoft.com/office/drawing/2014/main" id="{8E4C818E-3782-A306-B899-0485476EE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0576" y="6554788"/>
              <a:ext cx="53975" cy="42863"/>
            </a:xfrm>
            <a:custGeom>
              <a:avLst/>
              <a:gdLst>
                <a:gd name="T0" fmla="*/ 266 w 322"/>
                <a:gd name="T1" fmla="*/ 257 h 257"/>
                <a:gd name="T2" fmla="*/ 237 w 322"/>
                <a:gd name="T3" fmla="*/ 248 h 257"/>
                <a:gd name="T4" fmla="*/ 28 w 322"/>
                <a:gd name="T5" fmla="*/ 98 h 257"/>
                <a:gd name="T6" fmla="*/ 16 w 322"/>
                <a:gd name="T7" fmla="*/ 28 h 257"/>
                <a:gd name="T8" fmla="*/ 86 w 322"/>
                <a:gd name="T9" fmla="*/ 17 h 257"/>
                <a:gd name="T10" fmla="*/ 295 w 322"/>
                <a:gd name="T11" fmla="*/ 166 h 257"/>
                <a:gd name="T12" fmla="*/ 306 w 322"/>
                <a:gd name="T13" fmla="*/ 236 h 257"/>
                <a:gd name="T14" fmla="*/ 266 w 322"/>
                <a:gd name="T15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2" h="257">
                  <a:moveTo>
                    <a:pt x="266" y="257"/>
                  </a:moveTo>
                  <a:cubicBezTo>
                    <a:pt x="256" y="257"/>
                    <a:pt x="245" y="254"/>
                    <a:pt x="237" y="248"/>
                  </a:cubicBezTo>
                  <a:lnTo>
                    <a:pt x="28" y="98"/>
                  </a:lnTo>
                  <a:cubicBezTo>
                    <a:pt x="5" y="82"/>
                    <a:pt x="0" y="50"/>
                    <a:pt x="16" y="28"/>
                  </a:cubicBezTo>
                  <a:cubicBezTo>
                    <a:pt x="32" y="6"/>
                    <a:pt x="63" y="0"/>
                    <a:pt x="86" y="17"/>
                  </a:cubicBezTo>
                  <a:lnTo>
                    <a:pt x="295" y="166"/>
                  </a:lnTo>
                  <a:cubicBezTo>
                    <a:pt x="317" y="182"/>
                    <a:pt x="322" y="214"/>
                    <a:pt x="306" y="236"/>
                  </a:cubicBezTo>
                  <a:cubicBezTo>
                    <a:pt x="297" y="250"/>
                    <a:pt x="281" y="257"/>
                    <a:pt x="266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Rectangle 676">
              <a:extLst>
                <a:ext uri="{FF2B5EF4-FFF2-40B4-BE49-F238E27FC236}">
                  <a16:creationId xmlns:a16="http://schemas.microsoft.com/office/drawing/2014/main" id="{1778AD83-7910-6EAE-B8F2-44D5B0BA40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1" y="6592888"/>
              <a:ext cx="174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7">
              <a:extLst>
                <a:ext uri="{FF2B5EF4-FFF2-40B4-BE49-F238E27FC236}">
                  <a16:creationId xmlns:a16="http://schemas.microsoft.com/office/drawing/2014/main" id="{E8112C4B-BEFE-0E1C-C6A8-939C7302B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2164" y="6589713"/>
              <a:ext cx="15875" cy="269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678">
              <a:extLst>
                <a:ext uri="{FF2B5EF4-FFF2-40B4-BE49-F238E27FC236}">
                  <a16:creationId xmlns:a16="http://schemas.microsoft.com/office/drawing/2014/main" id="{E2E56B18-7F94-95CF-8E34-79BC40C5B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3089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0 w 716"/>
                <a:gd name="T3" fmla="*/ 358 h 716"/>
                <a:gd name="T4" fmla="*/ 358 w 716"/>
                <a:gd name="T5" fmla="*/ 0 h 716"/>
                <a:gd name="T6" fmla="*/ 444 w 716"/>
                <a:gd name="T7" fmla="*/ 10 h 716"/>
                <a:gd name="T8" fmla="*/ 480 w 716"/>
                <a:gd name="T9" fmla="*/ 71 h 716"/>
                <a:gd name="T10" fmla="*/ 420 w 716"/>
                <a:gd name="T11" fmla="*/ 107 h 716"/>
                <a:gd name="T12" fmla="*/ 358 w 716"/>
                <a:gd name="T13" fmla="*/ 100 h 716"/>
                <a:gd name="T14" fmla="*/ 100 w 716"/>
                <a:gd name="T15" fmla="*/ 358 h 716"/>
                <a:gd name="T16" fmla="*/ 358 w 716"/>
                <a:gd name="T17" fmla="*/ 616 h 716"/>
                <a:gd name="T18" fmla="*/ 616 w 716"/>
                <a:gd name="T19" fmla="*/ 358 h 716"/>
                <a:gd name="T20" fmla="*/ 570 w 716"/>
                <a:gd name="T21" fmla="*/ 210 h 716"/>
                <a:gd name="T22" fmla="*/ 582 w 716"/>
                <a:gd name="T23" fmla="*/ 140 h 716"/>
                <a:gd name="T24" fmla="*/ 652 w 716"/>
                <a:gd name="T25" fmla="*/ 153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161" y="716"/>
                    <a:pt x="0" y="555"/>
                    <a:pt x="0" y="358"/>
                  </a:cubicBezTo>
                  <a:cubicBezTo>
                    <a:pt x="0" y="160"/>
                    <a:pt x="161" y="0"/>
                    <a:pt x="358" y="0"/>
                  </a:cubicBezTo>
                  <a:cubicBezTo>
                    <a:pt x="387" y="0"/>
                    <a:pt x="416" y="3"/>
                    <a:pt x="444" y="10"/>
                  </a:cubicBezTo>
                  <a:cubicBezTo>
                    <a:pt x="470" y="17"/>
                    <a:pt x="487" y="44"/>
                    <a:pt x="480" y="71"/>
                  </a:cubicBezTo>
                  <a:cubicBezTo>
                    <a:pt x="474" y="97"/>
                    <a:pt x="447" y="114"/>
                    <a:pt x="420" y="107"/>
                  </a:cubicBezTo>
                  <a:cubicBezTo>
                    <a:pt x="400" y="102"/>
                    <a:pt x="379" y="100"/>
                    <a:pt x="358" y="100"/>
                  </a:cubicBezTo>
                  <a:cubicBezTo>
                    <a:pt x="216" y="100"/>
                    <a:pt x="100" y="216"/>
                    <a:pt x="100" y="358"/>
                  </a:cubicBezTo>
                  <a:cubicBezTo>
                    <a:pt x="100" y="500"/>
                    <a:pt x="216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305"/>
                    <a:pt x="600" y="253"/>
                    <a:pt x="570" y="210"/>
                  </a:cubicBezTo>
                  <a:cubicBezTo>
                    <a:pt x="554" y="187"/>
                    <a:pt x="559" y="156"/>
                    <a:pt x="582" y="140"/>
                  </a:cubicBezTo>
                  <a:cubicBezTo>
                    <a:pt x="605" y="125"/>
                    <a:pt x="636" y="130"/>
                    <a:pt x="652" y="153"/>
                  </a:cubicBezTo>
                  <a:cubicBezTo>
                    <a:pt x="694" y="213"/>
                    <a:pt x="716" y="284"/>
                    <a:pt x="716" y="358"/>
                  </a:cubicBezTo>
                  <a:cubicBezTo>
                    <a:pt x="716" y="555"/>
                    <a:pt x="556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679">
              <a:extLst>
                <a:ext uri="{FF2B5EF4-FFF2-40B4-BE49-F238E27FC236}">
                  <a16:creationId xmlns:a16="http://schemas.microsoft.com/office/drawing/2014/main" id="{51A516DC-B08A-8AEE-6641-33A55330C11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064" y="6496050"/>
              <a:ext cx="120650" cy="120650"/>
            </a:xfrm>
            <a:custGeom>
              <a:avLst/>
              <a:gdLst>
                <a:gd name="T0" fmla="*/ 358 w 716"/>
                <a:gd name="T1" fmla="*/ 716 h 716"/>
                <a:gd name="T2" fmla="*/ 337 w 716"/>
                <a:gd name="T3" fmla="*/ 715 h 716"/>
                <a:gd name="T4" fmla="*/ 290 w 716"/>
                <a:gd name="T5" fmla="*/ 662 h 716"/>
                <a:gd name="T6" fmla="*/ 343 w 716"/>
                <a:gd name="T7" fmla="*/ 615 h 716"/>
                <a:gd name="T8" fmla="*/ 358 w 716"/>
                <a:gd name="T9" fmla="*/ 616 h 716"/>
                <a:gd name="T10" fmla="*/ 616 w 716"/>
                <a:gd name="T11" fmla="*/ 358 h 716"/>
                <a:gd name="T12" fmla="*/ 358 w 716"/>
                <a:gd name="T13" fmla="*/ 100 h 716"/>
                <a:gd name="T14" fmla="*/ 100 w 716"/>
                <a:gd name="T15" fmla="*/ 358 h 716"/>
                <a:gd name="T16" fmla="*/ 199 w 716"/>
                <a:gd name="T17" fmla="*/ 561 h 716"/>
                <a:gd name="T18" fmla="*/ 208 w 716"/>
                <a:gd name="T19" fmla="*/ 632 h 716"/>
                <a:gd name="T20" fmla="*/ 138 w 716"/>
                <a:gd name="T21" fmla="*/ 640 h 716"/>
                <a:gd name="T22" fmla="*/ 0 w 716"/>
                <a:gd name="T23" fmla="*/ 358 h 716"/>
                <a:gd name="T24" fmla="*/ 358 w 716"/>
                <a:gd name="T25" fmla="*/ 0 h 716"/>
                <a:gd name="T26" fmla="*/ 716 w 716"/>
                <a:gd name="T27" fmla="*/ 358 h 716"/>
                <a:gd name="T28" fmla="*/ 358 w 716"/>
                <a:gd name="T29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6" h="716">
                  <a:moveTo>
                    <a:pt x="358" y="716"/>
                  </a:moveTo>
                  <a:cubicBezTo>
                    <a:pt x="351" y="716"/>
                    <a:pt x="344" y="716"/>
                    <a:pt x="337" y="715"/>
                  </a:cubicBezTo>
                  <a:cubicBezTo>
                    <a:pt x="310" y="714"/>
                    <a:pt x="289" y="690"/>
                    <a:pt x="290" y="662"/>
                  </a:cubicBezTo>
                  <a:cubicBezTo>
                    <a:pt x="292" y="635"/>
                    <a:pt x="315" y="614"/>
                    <a:pt x="343" y="615"/>
                  </a:cubicBezTo>
                  <a:cubicBezTo>
                    <a:pt x="348" y="616"/>
                    <a:pt x="353" y="616"/>
                    <a:pt x="358" y="616"/>
                  </a:cubicBezTo>
                  <a:cubicBezTo>
                    <a:pt x="500" y="616"/>
                    <a:pt x="616" y="500"/>
                    <a:pt x="616" y="358"/>
                  </a:cubicBezTo>
                  <a:cubicBezTo>
                    <a:pt x="616" y="216"/>
                    <a:pt x="500" y="100"/>
                    <a:pt x="358" y="100"/>
                  </a:cubicBezTo>
                  <a:cubicBezTo>
                    <a:pt x="215" y="100"/>
                    <a:pt x="100" y="216"/>
                    <a:pt x="100" y="358"/>
                  </a:cubicBezTo>
                  <a:cubicBezTo>
                    <a:pt x="100" y="438"/>
                    <a:pt x="136" y="512"/>
                    <a:pt x="199" y="561"/>
                  </a:cubicBezTo>
                  <a:cubicBezTo>
                    <a:pt x="221" y="579"/>
                    <a:pt x="225" y="610"/>
                    <a:pt x="208" y="632"/>
                  </a:cubicBezTo>
                  <a:cubicBezTo>
                    <a:pt x="191" y="653"/>
                    <a:pt x="159" y="657"/>
                    <a:pt x="138" y="640"/>
                  </a:cubicBezTo>
                  <a:cubicBezTo>
                    <a:pt x="50" y="572"/>
                    <a:pt x="0" y="469"/>
                    <a:pt x="0" y="358"/>
                  </a:cubicBezTo>
                  <a:cubicBezTo>
                    <a:pt x="0" y="160"/>
                    <a:pt x="160" y="0"/>
                    <a:pt x="358" y="0"/>
                  </a:cubicBezTo>
                  <a:cubicBezTo>
                    <a:pt x="555" y="0"/>
                    <a:pt x="716" y="160"/>
                    <a:pt x="716" y="358"/>
                  </a:cubicBezTo>
                  <a:cubicBezTo>
                    <a:pt x="716" y="555"/>
                    <a:pt x="555" y="716"/>
                    <a:pt x="358" y="71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80">
              <a:extLst>
                <a:ext uri="{FF2B5EF4-FFF2-40B4-BE49-F238E27FC236}">
                  <a16:creationId xmlns:a16="http://schemas.microsoft.com/office/drawing/2014/main" id="{CBE71B44-9C28-2900-3F1E-CBA3659E3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889" y="6354763"/>
              <a:ext cx="17463" cy="238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81">
              <a:extLst>
                <a:ext uri="{FF2B5EF4-FFF2-40B4-BE49-F238E27FC236}">
                  <a16:creationId xmlns:a16="http://schemas.microsoft.com/office/drawing/2014/main" id="{F74E11CE-0060-955A-4DF6-49A7B0DA82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76889" y="6394450"/>
              <a:ext cx="17463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682">
              <a:extLst>
                <a:ext uri="{FF2B5EF4-FFF2-40B4-BE49-F238E27FC236}">
                  <a16:creationId xmlns:a16="http://schemas.microsoft.com/office/drawing/2014/main" id="{5B7ADC02-1FE2-6FDC-9F97-437EAC2FF1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54664" y="6378575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683">
              <a:extLst>
                <a:ext uri="{FF2B5EF4-FFF2-40B4-BE49-F238E27FC236}">
                  <a16:creationId xmlns:a16="http://schemas.microsoft.com/office/drawing/2014/main" id="{F1BEB378-9AFE-1ECE-54C9-EA39BD618B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1" y="6378575"/>
              <a:ext cx="22225" cy="158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Rectangle 684">
              <a:extLst>
                <a:ext uri="{FF2B5EF4-FFF2-40B4-BE49-F238E27FC236}">
                  <a16:creationId xmlns:a16="http://schemas.microsoft.com/office/drawing/2014/main" id="{32FA4C11-31AB-D2BB-A095-74C53C0A0A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9" y="6448425"/>
              <a:ext cx="158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ctangle 685">
              <a:extLst>
                <a:ext uri="{FF2B5EF4-FFF2-40B4-BE49-F238E27FC236}">
                  <a16:creationId xmlns:a16="http://schemas.microsoft.com/office/drawing/2014/main" id="{25A9B610-36C6-CA62-E6AA-B19A3D10EA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57889" y="6488113"/>
              <a:ext cx="1587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ctangle 686">
              <a:extLst>
                <a:ext uri="{FF2B5EF4-FFF2-40B4-BE49-F238E27FC236}">
                  <a16:creationId xmlns:a16="http://schemas.microsoft.com/office/drawing/2014/main" id="{AFB52767-9384-037D-A4D1-DC7222BC8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34076" y="6470650"/>
              <a:ext cx="2381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ctangle 687">
              <a:extLst>
                <a:ext uri="{FF2B5EF4-FFF2-40B4-BE49-F238E27FC236}">
                  <a16:creationId xmlns:a16="http://schemas.microsoft.com/office/drawing/2014/main" id="{8D8B8F7E-9910-5583-BAC0-B7F1273B9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3764" y="6470650"/>
              <a:ext cx="22225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CFBF61A3-802A-7785-96F2-A9FBBD45E352}"/>
              </a:ext>
            </a:extLst>
          </p:cNvPr>
          <p:cNvSpPr txBox="1"/>
          <p:nvPr/>
        </p:nvSpPr>
        <p:spPr>
          <a:xfrm>
            <a:off x="9562123" y="3973294"/>
            <a:ext cx="13812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90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D99988-CF73-AE87-86D6-BA8B31434228}"/>
              </a:ext>
            </a:extLst>
          </p:cNvPr>
          <p:cNvSpPr txBox="1"/>
          <p:nvPr/>
        </p:nvSpPr>
        <p:spPr>
          <a:xfrm>
            <a:off x="7825994" y="4939002"/>
            <a:ext cx="21002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>
                <a:latin typeface="+mj-lt"/>
              </a:rPr>
              <a:t>Engagemen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F25A81E-E624-3CF5-86B7-18D0EC371DAB}"/>
              </a:ext>
            </a:extLst>
          </p:cNvPr>
          <p:cNvSpPr txBox="1"/>
          <p:nvPr/>
        </p:nvSpPr>
        <p:spPr>
          <a:xfrm>
            <a:off x="7125243" y="5431879"/>
            <a:ext cx="34655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Any physical action taken with mail</a:t>
            </a:r>
          </a:p>
        </p:txBody>
      </p:sp>
      <p:grpSp>
        <p:nvGrpSpPr>
          <p:cNvPr id="39" name="Graphic 3" descr="Wedding rings outline">
            <a:extLst>
              <a:ext uri="{FF2B5EF4-FFF2-40B4-BE49-F238E27FC236}">
                <a16:creationId xmlns:a16="http://schemas.microsoft.com/office/drawing/2014/main" id="{DBB9B5D5-A29A-49D4-7612-F0590F8701E6}"/>
              </a:ext>
            </a:extLst>
          </p:cNvPr>
          <p:cNvGrpSpPr/>
          <p:nvPr/>
        </p:nvGrpSpPr>
        <p:grpSpPr>
          <a:xfrm>
            <a:off x="10044854" y="1847611"/>
            <a:ext cx="1204872" cy="998322"/>
            <a:chOff x="2262927" y="3885649"/>
            <a:chExt cx="747283" cy="619177"/>
          </a:xfrm>
          <a:solidFill>
            <a:srgbClr val="000000"/>
          </a:solidFill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8410EDF-5E27-96E4-6CAE-9DC8D2CFC19C}"/>
                </a:ext>
              </a:extLst>
            </p:cNvPr>
            <p:cNvSpPr/>
            <p:nvPr/>
          </p:nvSpPr>
          <p:spPr>
            <a:xfrm>
              <a:off x="2262927" y="4028492"/>
              <a:ext cx="476314" cy="476334"/>
            </a:xfrm>
            <a:custGeom>
              <a:avLst/>
              <a:gdLst>
                <a:gd name="connsiteX0" fmla="*/ 476314 w 476314"/>
                <a:gd name="connsiteY0" fmla="*/ 238157 h 476334"/>
                <a:gd name="connsiteX1" fmla="*/ 441358 w 476314"/>
                <a:gd name="connsiteY1" fmla="*/ 113894 h 476334"/>
                <a:gd name="connsiteX2" fmla="*/ 410020 w 476314"/>
                <a:gd name="connsiteY2" fmla="*/ 75794 h 476334"/>
                <a:gd name="connsiteX3" fmla="*/ 393952 w 476314"/>
                <a:gd name="connsiteY3" fmla="*/ 86786 h 476334"/>
                <a:gd name="connsiteX4" fmla="*/ 396123 w 476314"/>
                <a:gd name="connsiteY4" fmla="*/ 88834 h 476334"/>
                <a:gd name="connsiteX5" fmla="*/ 425117 w 476314"/>
                <a:gd name="connsiteY5" fmla="*/ 123857 h 476334"/>
                <a:gd name="connsiteX6" fmla="*/ 352354 w 476314"/>
                <a:gd name="connsiteY6" fmla="*/ 424595 h 476334"/>
                <a:gd name="connsiteX7" fmla="*/ 51617 w 476314"/>
                <a:gd name="connsiteY7" fmla="*/ 351831 h 476334"/>
                <a:gd name="connsiteX8" fmla="*/ 124380 w 476314"/>
                <a:gd name="connsiteY8" fmla="*/ 51094 h 476334"/>
                <a:gd name="connsiteX9" fmla="*/ 331172 w 476314"/>
                <a:gd name="connsiteY9" fmla="*/ 39713 h 476334"/>
                <a:gd name="connsiteX10" fmla="*/ 347022 w 476314"/>
                <a:gd name="connsiteY10" fmla="*/ 26578 h 476334"/>
                <a:gd name="connsiteX11" fmla="*/ 26602 w 476314"/>
                <a:gd name="connsiteY11" fmla="*/ 128703 h 476334"/>
                <a:gd name="connsiteX12" fmla="*/ 550 w 476314"/>
                <a:gd name="connsiteY12" fmla="*/ 222793 h 476334"/>
                <a:gd name="connsiteX13" fmla="*/ 64558 w 476314"/>
                <a:gd name="connsiteY13" fmla="*/ 401168 h 476334"/>
                <a:gd name="connsiteX14" fmla="*/ 401149 w 476314"/>
                <a:gd name="connsiteY14" fmla="*/ 411840 h 476334"/>
                <a:gd name="connsiteX15" fmla="*/ 476314 w 476314"/>
                <a:gd name="connsiteY15" fmla="*/ 238157 h 476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6314" h="476334">
                  <a:moveTo>
                    <a:pt x="476314" y="238157"/>
                  </a:moveTo>
                  <a:cubicBezTo>
                    <a:pt x="476352" y="194304"/>
                    <a:pt x="464253" y="151296"/>
                    <a:pt x="441358" y="113894"/>
                  </a:cubicBezTo>
                  <a:cubicBezTo>
                    <a:pt x="432612" y="99886"/>
                    <a:pt x="422077" y="87078"/>
                    <a:pt x="410020" y="75794"/>
                  </a:cubicBezTo>
                  <a:cubicBezTo>
                    <a:pt x="404481" y="79183"/>
                    <a:pt x="399118" y="82852"/>
                    <a:pt x="393952" y="86786"/>
                  </a:cubicBezTo>
                  <a:lnTo>
                    <a:pt x="396123" y="88834"/>
                  </a:lnTo>
                  <a:cubicBezTo>
                    <a:pt x="407303" y="99166"/>
                    <a:pt x="417054" y="110945"/>
                    <a:pt x="425117" y="123857"/>
                  </a:cubicBezTo>
                  <a:cubicBezTo>
                    <a:pt x="488071" y="226997"/>
                    <a:pt x="455494" y="361641"/>
                    <a:pt x="352354" y="424595"/>
                  </a:cubicBezTo>
                  <a:cubicBezTo>
                    <a:pt x="249216" y="487548"/>
                    <a:pt x="114570" y="454971"/>
                    <a:pt x="51617" y="351831"/>
                  </a:cubicBezTo>
                  <a:cubicBezTo>
                    <a:pt x="-11336" y="248693"/>
                    <a:pt x="21240" y="114047"/>
                    <a:pt x="124380" y="51094"/>
                  </a:cubicBezTo>
                  <a:cubicBezTo>
                    <a:pt x="187037" y="12850"/>
                    <a:pt x="264697" y="8576"/>
                    <a:pt x="331172" y="39713"/>
                  </a:cubicBezTo>
                  <a:cubicBezTo>
                    <a:pt x="336252" y="35134"/>
                    <a:pt x="341536" y="30757"/>
                    <a:pt x="347022" y="26578"/>
                  </a:cubicBezTo>
                  <a:cubicBezTo>
                    <a:pt x="230340" y="-33703"/>
                    <a:pt x="86882" y="12020"/>
                    <a:pt x="26602" y="128703"/>
                  </a:cubicBezTo>
                  <a:cubicBezTo>
                    <a:pt x="11504" y="157927"/>
                    <a:pt x="2633" y="189965"/>
                    <a:pt x="550" y="222793"/>
                  </a:cubicBezTo>
                  <a:cubicBezTo>
                    <a:pt x="-3945" y="288580"/>
                    <a:pt x="19261" y="353249"/>
                    <a:pt x="64558" y="401168"/>
                  </a:cubicBezTo>
                  <a:cubicBezTo>
                    <a:pt x="154558" y="497062"/>
                    <a:pt x="305255" y="501839"/>
                    <a:pt x="401149" y="411840"/>
                  </a:cubicBezTo>
                  <a:cubicBezTo>
                    <a:pt x="449121" y="366815"/>
                    <a:pt x="476329" y="303949"/>
                    <a:pt x="476314" y="238157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AA3B84C-0C5D-0867-48EB-EF6CBCC86468}"/>
                </a:ext>
              </a:extLst>
            </p:cNvPr>
            <p:cNvSpPr/>
            <p:nvPr/>
          </p:nvSpPr>
          <p:spPr>
            <a:xfrm>
              <a:off x="2646058" y="3885649"/>
              <a:ext cx="247650" cy="190500"/>
            </a:xfrm>
            <a:custGeom>
              <a:avLst/>
              <a:gdLst>
                <a:gd name="connsiteX0" fmla="*/ 247650 w 247650"/>
                <a:gd name="connsiteY0" fmla="*/ 57150 h 190500"/>
                <a:gd name="connsiteX1" fmla="*/ 200025 w 247650"/>
                <a:gd name="connsiteY1" fmla="*/ 0 h 190500"/>
                <a:gd name="connsiteX2" fmla="*/ 47625 w 247650"/>
                <a:gd name="connsiteY2" fmla="*/ 0 h 190500"/>
                <a:gd name="connsiteX3" fmla="*/ 0 w 247650"/>
                <a:gd name="connsiteY3" fmla="*/ 57150 h 190500"/>
                <a:gd name="connsiteX4" fmla="*/ 123825 w 247650"/>
                <a:gd name="connsiteY4" fmla="*/ 190500 h 190500"/>
                <a:gd name="connsiteX5" fmla="*/ 78762 w 247650"/>
                <a:gd name="connsiteY5" fmla="*/ 66675 h 190500"/>
                <a:gd name="connsiteX6" fmla="*/ 103251 w 247650"/>
                <a:gd name="connsiteY6" fmla="*/ 140122 h 190500"/>
                <a:gd name="connsiteX7" fmla="*/ 103196 w 247650"/>
                <a:gd name="connsiteY7" fmla="*/ 140245 h 190500"/>
                <a:gd name="connsiteX8" fmla="*/ 103089 w 247650"/>
                <a:gd name="connsiteY8" fmla="*/ 140218 h 190500"/>
                <a:gd name="connsiteX9" fmla="*/ 34957 w 247650"/>
                <a:gd name="connsiteY9" fmla="*/ 66827 h 190500"/>
                <a:gd name="connsiteX10" fmla="*/ 34975 w 247650"/>
                <a:gd name="connsiteY10" fmla="*/ 66694 h 190500"/>
                <a:gd name="connsiteX11" fmla="*/ 35023 w 247650"/>
                <a:gd name="connsiteY11" fmla="*/ 66675 h 190500"/>
                <a:gd name="connsiteX12" fmla="*/ 136331 w 247650"/>
                <a:gd name="connsiteY12" fmla="*/ 19050 h 190500"/>
                <a:gd name="connsiteX13" fmla="*/ 147761 w 247650"/>
                <a:gd name="connsiteY13" fmla="*/ 47625 h 190500"/>
                <a:gd name="connsiteX14" fmla="*/ 99698 w 247650"/>
                <a:gd name="connsiteY14" fmla="*/ 47625 h 190500"/>
                <a:gd name="connsiteX15" fmla="*/ 111128 w 247650"/>
                <a:gd name="connsiteY15" fmla="*/ 19050 h 190500"/>
                <a:gd name="connsiteX16" fmla="*/ 212655 w 247650"/>
                <a:gd name="connsiteY16" fmla="*/ 66780 h 190500"/>
                <a:gd name="connsiteX17" fmla="*/ 144266 w 247650"/>
                <a:gd name="connsiteY17" fmla="*/ 140465 h 190500"/>
                <a:gd name="connsiteX18" fmla="*/ 144131 w 247650"/>
                <a:gd name="connsiteY18" fmla="*/ 140450 h 190500"/>
                <a:gd name="connsiteX19" fmla="*/ 144113 w 247650"/>
                <a:gd name="connsiteY19" fmla="*/ 140370 h 190500"/>
                <a:gd name="connsiteX20" fmla="*/ 168688 w 247650"/>
                <a:gd name="connsiteY20" fmla="*/ 66675 h 190500"/>
                <a:gd name="connsiteX21" fmla="*/ 212655 w 247650"/>
                <a:gd name="connsiteY21" fmla="*/ 66675 h 190500"/>
                <a:gd name="connsiteX22" fmla="*/ 212655 w 247650"/>
                <a:gd name="connsiteY22" fmla="*/ 66780 h 190500"/>
                <a:gd name="connsiteX23" fmla="*/ 148609 w 247650"/>
                <a:gd name="connsiteY23" fmla="*/ 66675 h 190500"/>
                <a:gd name="connsiteX24" fmla="*/ 123844 w 247650"/>
                <a:gd name="connsiteY24" fmla="*/ 141056 h 190500"/>
                <a:gd name="connsiteX25" fmla="*/ 123724 w 247650"/>
                <a:gd name="connsiteY25" fmla="*/ 141117 h 190500"/>
                <a:gd name="connsiteX26" fmla="*/ 123663 w 247650"/>
                <a:gd name="connsiteY26" fmla="*/ 141056 h 190500"/>
                <a:gd name="connsiteX27" fmla="*/ 98841 w 247650"/>
                <a:gd name="connsiteY27" fmla="*/ 66675 h 190500"/>
                <a:gd name="connsiteX28" fmla="*/ 214703 w 247650"/>
                <a:gd name="connsiteY28" fmla="*/ 47625 h 190500"/>
                <a:gd name="connsiteX29" fmla="*/ 168269 w 247650"/>
                <a:gd name="connsiteY29" fmla="*/ 47625 h 190500"/>
                <a:gd name="connsiteX30" fmla="*/ 156839 w 247650"/>
                <a:gd name="connsiteY30" fmla="*/ 19050 h 190500"/>
                <a:gd name="connsiteX31" fmla="*/ 191129 w 247650"/>
                <a:gd name="connsiteY31" fmla="*/ 19050 h 190500"/>
                <a:gd name="connsiteX32" fmla="*/ 214808 w 247650"/>
                <a:gd name="connsiteY32" fmla="*/ 47473 h 190500"/>
                <a:gd name="connsiteX33" fmla="*/ 214763 w 247650"/>
                <a:gd name="connsiteY33" fmla="*/ 47614 h 190500"/>
                <a:gd name="connsiteX34" fmla="*/ 214703 w 247650"/>
                <a:gd name="connsiteY34" fmla="*/ 47625 h 190500"/>
                <a:gd name="connsiteX35" fmla="*/ 56588 w 247650"/>
                <a:gd name="connsiteY35" fmla="*/ 19050 h 190500"/>
                <a:gd name="connsiteX36" fmla="*/ 90668 w 247650"/>
                <a:gd name="connsiteY36" fmla="*/ 19050 h 190500"/>
                <a:gd name="connsiteX37" fmla="*/ 79238 w 247650"/>
                <a:gd name="connsiteY37" fmla="*/ 47625 h 190500"/>
                <a:gd name="connsiteX38" fmla="*/ 32928 w 247650"/>
                <a:gd name="connsiteY38" fmla="*/ 47625 h 190500"/>
                <a:gd name="connsiteX39" fmla="*/ 32834 w 247650"/>
                <a:gd name="connsiteY39" fmla="*/ 47529 h 190500"/>
                <a:gd name="connsiteX40" fmla="*/ 32861 w 247650"/>
                <a:gd name="connsiteY40" fmla="*/ 47463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247650" h="190500">
                  <a:moveTo>
                    <a:pt x="247650" y="57150"/>
                  </a:moveTo>
                  <a:lnTo>
                    <a:pt x="200025" y="0"/>
                  </a:lnTo>
                  <a:lnTo>
                    <a:pt x="47625" y="0"/>
                  </a:lnTo>
                  <a:lnTo>
                    <a:pt x="0" y="57150"/>
                  </a:lnTo>
                  <a:lnTo>
                    <a:pt x="123825" y="190500"/>
                  </a:lnTo>
                  <a:close/>
                  <a:moveTo>
                    <a:pt x="78762" y="66675"/>
                  </a:moveTo>
                  <a:lnTo>
                    <a:pt x="103251" y="140122"/>
                  </a:lnTo>
                  <a:cubicBezTo>
                    <a:pt x="103270" y="140172"/>
                    <a:pt x="103245" y="140226"/>
                    <a:pt x="103196" y="140245"/>
                  </a:cubicBezTo>
                  <a:cubicBezTo>
                    <a:pt x="103158" y="140259"/>
                    <a:pt x="103115" y="140249"/>
                    <a:pt x="103089" y="140218"/>
                  </a:cubicBezTo>
                  <a:lnTo>
                    <a:pt x="34957" y="66827"/>
                  </a:lnTo>
                  <a:cubicBezTo>
                    <a:pt x="34925" y="66785"/>
                    <a:pt x="34933" y="66725"/>
                    <a:pt x="34975" y="66694"/>
                  </a:cubicBezTo>
                  <a:cubicBezTo>
                    <a:pt x="34989" y="66684"/>
                    <a:pt x="35006" y="66677"/>
                    <a:pt x="35023" y="66675"/>
                  </a:cubicBezTo>
                  <a:close/>
                  <a:moveTo>
                    <a:pt x="136331" y="19050"/>
                  </a:moveTo>
                  <a:lnTo>
                    <a:pt x="147761" y="47625"/>
                  </a:lnTo>
                  <a:lnTo>
                    <a:pt x="99698" y="47625"/>
                  </a:lnTo>
                  <a:lnTo>
                    <a:pt x="111128" y="19050"/>
                  </a:lnTo>
                  <a:close/>
                  <a:moveTo>
                    <a:pt x="212655" y="66780"/>
                  </a:moveTo>
                  <a:lnTo>
                    <a:pt x="144266" y="140465"/>
                  </a:lnTo>
                  <a:cubicBezTo>
                    <a:pt x="144225" y="140498"/>
                    <a:pt x="144165" y="140491"/>
                    <a:pt x="144131" y="140450"/>
                  </a:cubicBezTo>
                  <a:cubicBezTo>
                    <a:pt x="144114" y="140428"/>
                    <a:pt x="144107" y="140399"/>
                    <a:pt x="144113" y="140370"/>
                  </a:cubicBezTo>
                  <a:lnTo>
                    <a:pt x="168688" y="66675"/>
                  </a:lnTo>
                  <a:lnTo>
                    <a:pt x="212655" y="66675"/>
                  </a:lnTo>
                  <a:cubicBezTo>
                    <a:pt x="212679" y="66705"/>
                    <a:pt x="212679" y="66749"/>
                    <a:pt x="212655" y="66780"/>
                  </a:cubicBezTo>
                  <a:close/>
                  <a:moveTo>
                    <a:pt x="148609" y="66675"/>
                  </a:moveTo>
                  <a:lnTo>
                    <a:pt x="123844" y="141056"/>
                  </a:lnTo>
                  <a:cubicBezTo>
                    <a:pt x="123828" y="141105"/>
                    <a:pt x="123774" y="141133"/>
                    <a:pt x="123724" y="141117"/>
                  </a:cubicBezTo>
                  <a:cubicBezTo>
                    <a:pt x="123695" y="141107"/>
                    <a:pt x="123673" y="141084"/>
                    <a:pt x="123663" y="141056"/>
                  </a:cubicBezTo>
                  <a:lnTo>
                    <a:pt x="98841" y="66675"/>
                  </a:lnTo>
                  <a:close/>
                  <a:moveTo>
                    <a:pt x="214703" y="47625"/>
                  </a:moveTo>
                  <a:lnTo>
                    <a:pt x="168269" y="47625"/>
                  </a:lnTo>
                  <a:lnTo>
                    <a:pt x="156839" y="19050"/>
                  </a:lnTo>
                  <a:lnTo>
                    <a:pt x="191129" y="19050"/>
                  </a:lnTo>
                  <a:lnTo>
                    <a:pt x="214808" y="47473"/>
                  </a:lnTo>
                  <a:cubicBezTo>
                    <a:pt x="214834" y="47524"/>
                    <a:pt x="214814" y="47587"/>
                    <a:pt x="214763" y="47614"/>
                  </a:cubicBezTo>
                  <a:cubicBezTo>
                    <a:pt x="214745" y="47623"/>
                    <a:pt x="214724" y="47627"/>
                    <a:pt x="214703" y="47625"/>
                  </a:cubicBezTo>
                  <a:close/>
                  <a:moveTo>
                    <a:pt x="56588" y="19050"/>
                  </a:moveTo>
                  <a:lnTo>
                    <a:pt x="90668" y="19050"/>
                  </a:lnTo>
                  <a:lnTo>
                    <a:pt x="79238" y="47625"/>
                  </a:lnTo>
                  <a:lnTo>
                    <a:pt x="32928" y="47625"/>
                  </a:lnTo>
                  <a:cubicBezTo>
                    <a:pt x="32876" y="47624"/>
                    <a:pt x="32834" y="47581"/>
                    <a:pt x="32834" y="47529"/>
                  </a:cubicBezTo>
                  <a:cubicBezTo>
                    <a:pt x="32835" y="47504"/>
                    <a:pt x="32844" y="47480"/>
                    <a:pt x="32861" y="47463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574FEAD-0558-3339-D580-D44082269A6E}"/>
                </a:ext>
              </a:extLst>
            </p:cNvPr>
            <p:cNvSpPr/>
            <p:nvPr/>
          </p:nvSpPr>
          <p:spPr>
            <a:xfrm>
              <a:off x="2533861" y="4040582"/>
              <a:ext cx="178309" cy="388858"/>
            </a:xfrm>
            <a:custGeom>
              <a:avLst/>
              <a:gdLst>
                <a:gd name="connsiteX0" fmla="*/ 178309 w 178309"/>
                <a:gd name="connsiteY0" fmla="*/ 15411 h 388858"/>
                <a:gd name="connsiteX1" fmla="*/ 164022 w 178309"/>
                <a:gd name="connsiteY1" fmla="*/ 0 h 388858"/>
                <a:gd name="connsiteX2" fmla="*/ 716 w 178309"/>
                <a:gd name="connsiteY2" fmla="*/ 208150 h 388858"/>
                <a:gd name="connsiteX3" fmla="*/ 40368 w 178309"/>
                <a:gd name="connsiteY3" fmla="*/ 358645 h 388858"/>
                <a:gd name="connsiteX4" fmla="*/ 65648 w 178309"/>
                <a:gd name="connsiteY4" fmla="*/ 388858 h 388858"/>
                <a:gd name="connsiteX5" fmla="*/ 81783 w 178309"/>
                <a:gd name="connsiteY5" fmla="*/ 377904 h 388858"/>
                <a:gd name="connsiteX6" fmla="*/ 56180 w 178309"/>
                <a:gd name="connsiteY6" fmla="*/ 348024 h 388858"/>
                <a:gd name="connsiteX7" fmla="*/ 19718 w 178309"/>
                <a:gd name="connsiteY7" fmla="*/ 209531 h 388858"/>
                <a:gd name="connsiteX8" fmla="*/ 178309 w 178309"/>
                <a:gd name="connsiteY8" fmla="*/ 15411 h 3888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8309" h="388858">
                  <a:moveTo>
                    <a:pt x="178309" y="15411"/>
                  </a:moveTo>
                  <a:lnTo>
                    <a:pt x="164022" y="0"/>
                  </a:lnTo>
                  <a:cubicBezTo>
                    <a:pt x="72700" y="30256"/>
                    <a:pt x="8369" y="112251"/>
                    <a:pt x="716" y="208150"/>
                  </a:cubicBezTo>
                  <a:cubicBezTo>
                    <a:pt x="-3433" y="261353"/>
                    <a:pt x="10543" y="314394"/>
                    <a:pt x="40368" y="358645"/>
                  </a:cubicBezTo>
                  <a:cubicBezTo>
                    <a:pt x="47761" y="369538"/>
                    <a:pt x="56230" y="379660"/>
                    <a:pt x="65648" y="388858"/>
                  </a:cubicBezTo>
                  <a:cubicBezTo>
                    <a:pt x="71210" y="385486"/>
                    <a:pt x="76596" y="381830"/>
                    <a:pt x="81783" y="377904"/>
                  </a:cubicBezTo>
                  <a:cubicBezTo>
                    <a:pt x="72190" y="368901"/>
                    <a:pt x="63606" y="358883"/>
                    <a:pt x="56180" y="348024"/>
                  </a:cubicBezTo>
                  <a:cubicBezTo>
                    <a:pt x="28741" y="307299"/>
                    <a:pt x="15890" y="258488"/>
                    <a:pt x="19718" y="209531"/>
                  </a:cubicBezTo>
                  <a:cubicBezTo>
                    <a:pt x="27007" y="118115"/>
                    <a:pt x="90183" y="40785"/>
                    <a:pt x="178309" y="15411"/>
                  </a:cubicBezTo>
                  <a:close/>
                </a:path>
              </a:pathLst>
            </a:custGeom>
            <a:solidFill>
              <a:srgbClr val="000000"/>
            </a:solidFill>
            <a:ln w="381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419660A-CA41-CEB0-4D61-9AE24D58068B}"/>
                </a:ext>
              </a:extLst>
            </p:cNvPr>
            <p:cNvSpPr/>
            <p:nvPr/>
          </p:nvSpPr>
          <p:spPr>
            <a:xfrm>
              <a:off x="2663117" y="4039401"/>
              <a:ext cx="347092" cy="465372"/>
            </a:xfrm>
            <a:custGeom>
              <a:avLst/>
              <a:gdLst>
                <a:gd name="connsiteX0" fmla="*/ 277311 w 347092"/>
                <a:gd name="connsiteY0" fmla="*/ 58874 h 465372"/>
                <a:gd name="connsiteX1" fmla="*/ 179861 w 347092"/>
                <a:gd name="connsiteY1" fmla="*/ 0 h 465372"/>
                <a:gd name="connsiteX2" fmla="*/ 165316 w 347092"/>
                <a:gd name="connsiteY2" fmla="*/ 15669 h 465372"/>
                <a:gd name="connsiteX3" fmla="*/ 320836 w 347092"/>
                <a:gd name="connsiteY3" fmla="*/ 283626 h 465372"/>
                <a:gd name="connsiteX4" fmla="*/ 52878 w 347092"/>
                <a:gd name="connsiteY4" fmla="*/ 439146 h 465372"/>
                <a:gd name="connsiteX5" fmla="*/ 15945 w 347092"/>
                <a:gd name="connsiteY5" fmla="*/ 425691 h 465372"/>
                <a:gd name="connsiteX6" fmla="*/ 0 w 347092"/>
                <a:gd name="connsiteY6" fmla="*/ 438902 h 465372"/>
                <a:gd name="connsiteX7" fmla="*/ 109328 w 347092"/>
                <a:gd name="connsiteY7" fmla="*/ 465372 h 465372"/>
                <a:gd name="connsiteX8" fmla="*/ 127054 w 347092"/>
                <a:gd name="connsiteY8" fmla="*/ 464715 h 465372"/>
                <a:gd name="connsiteX9" fmla="*/ 346393 w 347092"/>
                <a:gd name="connsiteY9" fmla="*/ 209181 h 465372"/>
                <a:gd name="connsiteX10" fmla="*/ 277311 w 347092"/>
                <a:gd name="connsiteY10" fmla="*/ 58874 h 465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7092" h="465372">
                  <a:moveTo>
                    <a:pt x="277311" y="58874"/>
                  </a:moveTo>
                  <a:cubicBezTo>
                    <a:pt x="250078" y="31643"/>
                    <a:pt x="216635" y="11439"/>
                    <a:pt x="179861" y="0"/>
                  </a:cubicBezTo>
                  <a:lnTo>
                    <a:pt x="165316" y="15669"/>
                  </a:lnTo>
                  <a:cubicBezTo>
                    <a:pt x="282256" y="46717"/>
                    <a:pt x="351885" y="166686"/>
                    <a:pt x="320836" y="283626"/>
                  </a:cubicBezTo>
                  <a:cubicBezTo>
                    <a:pt x="289787" y="400566"/>
                    <a:pt x="169818" y="470195"/>
                    <a:pt x="52878" y="439146"/>
                  </a:cubicBezTo>
                  <a:cubicBezTo>
                    <a:pt x="40189" y="435777"/>
                    <a:pt x="27828" y="431274"/>
                    <a:pt x="15945" y="425691"/>
                  </a:cubicBezTo>
                  <a:cubicBezTo>
                    <a:pt x="10814" y="430301"/>
                    <a:pt x="5499" y="434705"/>
                    <a:pt x="0" y="438902"/>
                  </a:cubicBezTo>
                  <a:cubicBezTo>
                    <a:pt x="33826" y="456276"/>
                    <a:pt x="71301" y="465350"/>
                    <a:pt x="109328" y="465372"/>
                  </a:cubicBezTo>
                  <a:cubicBezTo>
                    <a:pt x="115224" y="465372"/>
                    <a:pt x="121148" y="465163"/>
                    <a:pt x="127054" y="464715"/>
                  </a:cubicBezTo>
                  <a:cubicBezTo>
                    <a:pt x="258187" y="454720"/>
                    <a:pt x="356387" y="340314"/>
                    <a:pt x="346393" y="209181"/>
                  </a:cubicBezTo>
                  <a:cubicBezTo>
                    <a:pt x="342068" y="152433"/>
                    <a:pt x="317560" y="99111"/>
                    <a:pt x="277311" y="58874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76588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126C-6518-AF93-3836-F1BBD8C41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for trave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5D0DB-2240-9EE6-F0CA-6656EBECE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Achieving solid engagement with mail ite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0E79D-4AB8-C220-0C80-1A925221B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5F9EEB-4E8E-2FE5-4E17-2EE3EB172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Item Database, 2024, Travel, Tourism &amp; Attractions, n=1,841</a:t>
            </a:r>
          </a:p>
        </p:txBody>
      </p:sp>
      <p:grpSp>
        <p:nvGrpSpPr>
          <p:cNvPr id="7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DDF829-A265-D1C0-4A00-AE30B1F3557C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3586917" y="2524692"/>
            <a:ext cx="1663935" cy="1750293"/>
            <a:chOff x="6855725" y="2321521"/>
            <a:chExt cx="914400" cy="961857"/>
          </a:xfrm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FB7A315A-C367-3ECC-F8F4-B00DFF2DD21F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CCB79BDD-6F78-781D-8A3A-0EC516C9327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8F5FF19-932F-7201-77BA-57CF5CC858FF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E7544D03-E1CC-04EE-8B9E-1481F5FD8FFA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298070-F1DE-4A41-B188-290A982F124E}"/>
              </a:ext>
            </a:extLst>
          </p:cNvPr>
          <p:cNvGrpSpPr/>
          <p:nvPr/>
        </p:nvGrpSpPr>
        <p:grpSpPr>
          <a:xfrm>
            <a:off x="867310" y="2548229"/>
            <a:ext cx="1785786" cy="1703218"/>
            <a:chOff x="6791322" y="2606349"/>
            <a:chExt cx="939388" cy="89595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8020667-2CCB-FCF0-287D-F5718209FCBA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34948F-4862-C96B-C79F-8BE7EAFEEC86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1E1289-6EF4-D5D6-8D50-667B88F68B25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7A96EA3-7E99-B5D1-9394-423D12740389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28DFC19-9956-9C4A-5A2C-DB270B1E1DF8}"/>
              </a:ext>
            </a:extLst>
          </p:cNvPr>
          <p:cNvSpPr txBox="1"/>
          <p:nvPr/>
        </p:nvSpPr>
        <p:spPr>
          <a:xfrm>
            <a:off x="3241027" y="4295415"/>
            <a:ext cx="23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Number of times mail returned t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12874-405A-9398-BF34-E2B4BD108B28}"/>
              </a:ext>
            </a:extLst>
          </p:cNvPr>
          <p:cNvSpPr txBox="1"/>
          <p:nvPr/>
        </p:nvSpPr>
        <p:spPr>
          <a:xfrm>
            <a:off x="3800200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3.98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111427-85F4-0AC5-6387-52F93254A338}"/>
              </a:ext>
            </a:extLst>
          </p:cNvPr>
          <p:cNvSpPr txBox="1"/>
          <p:nvPr/>
        </p:nvSpPr>
        <p:spPr>
          <a:xfrm>
            <a:off x="1029382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2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C5393D-940F-FEA4-14ED-4C7461BE835E}"/>
              </a:ext>
            </a:extLst>
          </p:cNvPr>
          <p:cNvSpPr txBox="1"/>
          <p:nvPr/>
        </p:nvSpPr>
        <p:spPr>
          <a:xfrm>
            <a:off x="46456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Number of people who see mai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122C7D-8F0E-ABEF-1121-CBE31EB7ACC5}"/>
              </a:ext>
            </a:extLst>
          </p:cNvPr>
          <p:cNvSpPr txBox="1"/>
          <p:nvPr/>
        </p:nvSpPr>
        <p:spPr>
          <a:xfrm>
            <a:off x="5781922" y="4268855"/>
            <a:ext cx="259128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Average number of minutes attention per mail it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6054FB-3067-416C-D8AE-A26D0C56D0DE}"/>
              </a:ext>
            </a:extLst>
          </p:cNvPr>
          <p:cNvSpPr txBox="1"/>
          <p:nvPr/>
        </p:nvSpPr>
        <p:spPr>
          <a:xfrm>
            <a:off x="6433005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400" b="1" dirty="0">
                <a:latin typeface="+mj-lt"/>
              </a:rPr>
              <a:t>2.44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6DD8E1-9396-34E4-CD63-56EA33E3F854}"/>
              </a:ext>
            </a:extLst>
          </p:cNvPr>
          <p:cNvGrpSpPr/>
          <p:nvPr/>
        </p:nvGrpSpPr>
        <p:grpSpPr>
          <a:xfrm>
            <a:off x="6223171" y="2292424"/>
            <a:ext cx="1708788" cy="1976431"/>
            <a:chOff x="5524411" y="551421"/>
            <a:chExt cx="2067634" cy="2391481"/>
          </a:xfrm>
        </p:grpSpPr>
        <p:sp>
          <p:nvSpPr>
            <p:cNvPr id="24" name="Freeform 928">
              <a:extLst>
                <a:ext uri="{FF2B5EF4-FFF2-40B4-BE49-F238E27FC236}">
                  <a16:creationId xmlns:a16="http://schemas.microsoft.com/office/drawing/2014/main" id="{3AFC9875-D88E-9B92-3FCB-0D95C10A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930">
              <a:extLst>
                <a:ext uri="{FF2B5EF4-FFF2-40B4-BE49-F238E27FC236}">
                  <a16:creationId xmlns:a16="http://schemas.microsoft.com/office/drawing/2014/main" id="{EAF2911E-1689-F174-9458-B5D1C1270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931">
              <a:extLst>
                <a:ext uri="{FF2B5EF4-FFF2-40B4-BE49-F238E27FC236}">
                  <a16:creationId xmlns:a16="http://schemas.microsoft.com/office/drawing/2014/main" id="{EB4FB552-5247-9BDC-7FD8-FC6F1043A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932">
              <a:extLst>
                <a:ext uri="{FF2B5EF4-FFF2-40B4-BE49-F238E27FC236}">
                  <a16:creationId xmlns:a16="http://schemas.microsoft.com/office/drawing/2014/main" id="{4C2100CA-DC0B-9313-9A38-FB15DD8B0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2B1FE0-8EB0-DCD6-5946-0B577D288EE3}"/>
              </a:ext>
            </a:extLst>
          </p:cNvPr>
          <p:cNvGrpSpPr/>
          <p:nvPr/>
        </p:nvGrpSpPr>
        <p:grpSpPr>
          <a:xfrm>
            <a:off x="8962831" y="2382532"/>
            <a:ext cx="1782404" cy="1737656"/>
            <a:chOff x="7336432" y="2633196"/>
            <a:chExt cx="755569" cy="736600"/>
          </a:xfrm>
        </p:grpSpPr>
        <p:sp>
          <p:nvSpPr>
            <p:cNvPr id="29" name="Freeform 939">
              <a:extLst>
                <a:ext uri="{FF2B5EF4-FFF2-40B4-BE49-F238E27FC236}">
                  <a16:creationId xmlns:a16="http://schemas.microsoft.com/office/drawing/2014/main" id="{DEF88DFC-EFAE-A22F-F7C0-7A66E0DF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145" y="2971463"/>
              <a:ext cx="606984" cy="398333"/>
            </a:xfrm>
            <a:custGeom>
              <a:avLst/>
              <a:gdLst>
                <a:gd name="T0" fmla="*/ 2307 w 2385"/>
                <a:gd name="T1" fmla="*/ 1567 h 1567"/>
                <a:gd name="T2" fmla="*/ 73 w 2385"/>
                <a:gd name="T3" fmla="*/ 1567 h 1567"/>
                <a:gd name="T4" fmla="*/ 0 w 2385"/>
                <a:gd name="T5" fmla="*/ 1494 h 1567"/>
                <a:gd name="T6" fmla="*/ 0 w 2385"/>
                <a:gd name="T7" fmla="*/ 72 h 1567"/>
                <a:gd name="T8" fmla="*/ 73 w 2385"/>
                <a:gd name="T9" fmla="*/ 0 h 1567"/>
                <a:gd name="T10" fmla="*/ 145 w 2385"/>
                <a:gd name="T11" fmla="*/ 72 h 1567"/>
                <a:gd name="T12" fmla="*/ 145 w 2385"/>
                <a:gd name="T13" fmla="*/ 1422 h 1567"/>
                <a:gd name="T14" fmla="*/ 2234 w 2385"/>
                <a:gd name="T15" fmla="*/ 1422 h 1567"/>
                <a:gd name="T16" fmla="*/ 2240 w 2385"/>
                <a:gd name="T17" fmla="*/ 102 h 1567"/>
                <a:gd name="T18" fmla="*/ 2312 w 2385"/>
                <a:gd name="T19" fmla="*/ 30 h 1567"/>
                <a:gd name="T20" fmla="*/ 2313 w 2385"/>
                <a:gd name="T21" fmla="*/ 30 h 1567"/>
                <a:gd name="T22" fmla="*/ 2384 w 2385"/>
                <a:gd name="T23" fmla="*/ 103 h 1567"/>
                <a:gd name="T24" fmla="*/ 2379 w 2385"/>
                <a:gd name="T25" fmla="*/ 1494 h 1567"/>
                <a:gd name="T26" fmla="*/ 2307 w 2385"/>
                <a:gd name="T27" fmla="*/ 1567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5" h="1567">
                  <a:moveTo>
                    <a:pt x="2307" y="1567"/>
                  </a:moveTo>
                  <a:lnTo>
                    <a:pt x="73" y="1567"/>
                  </a:lnTo>
                  <a:cubicBezTo>
                    <a:pt x="33" y="1567"/>
                    <a:pt x="0" y="1534"/>
                    <a:pt x="0" y="149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1422"/>
                  </a:lnTo>
                  <a:lnTo>
                    <a:pt x="2234" y="1422"/>
                  </a:lnTo>
                  <a:lnTo>
                    <a:pt x="2240" y="102"/>
                  </a:lnTo>
                  <a:cubicBezTo>
                    <a:pt x="2240" y="63"/>
                    <a:pt x="2272" y="30"/>
                    <a:pt x="2312" y="30"/>
                  </a:cubicBezTo>
                  <a:lnTo>
                    <a:pt x="2313" y="30"/>
                  </a:lnTo>
                  <a:cubicBezTo>
                    <a:pt x="2352" y="30"/>
                    <a:pt x="2385" y="63"/>
                    <a:pt x="2384" y="103"/>
                  </a:cubicBezTo>
                  <a:lnTo>
                    <a:pt x="2379" y="1494"/>
                  </a:lnTo>
                  <a:cubicBezTo>
                    <a:pt x="2379" y="1534"/>
                    <a:pt x="2347" y="1567"/>
                    <a:pt x="2307" y="156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40">
              <a:extLst>
                <a:ext uri="{FF2B5EF4-FFF2-40B4-BE49-F238E27FC236}">
                  <a16:creationId xmlns:a16="http://schemas.microsoft.com/office/drawing/2014/main" id="{A24D0491-06F7-2E4C-8A0D-CB9FCECDB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2384" y="2857654"/>
              <a:ext cx="129617" cy="113809"/>
            </a:xfrm>
            <a:custGeom>
              <a:avLst/>
              <a:gdLst>
                <a:gd name="T0" fmla="*/ 431 w 513"/>
                <a:gd name="T1" fmla="*/ 448 h 448"/>
                <a:gd name="T2" fmla="*/ 385 w 513"/>
                <a:gd name="T3" fmla="*/ 430 h 448"/>
                <a:gd name="T4" fmla="*/ 35 w 513"/>
                <a:gd name="T5" fmla="*/ 137 h 448"/>
                <a:gd name="T6" fmla="*/ 26 w 513"/>
                <a:gd name="T7" fmla="*/ 35 h 448"/>
                <a:gd name="T8" fmla="*/ 128 w 513"/>
                <a:gd name="T9" fmla="*/ 26 h 448"/>
                <a:gd name="T10" fmla="*/ 478 w 513"/>
                <a:gd name="T11" fmla="*/ 320 h 448"/>
                <a:gd name="T12" fmla="*/ 487 w 513"/>
                <a:gd name="T13" fmla="*/ 422 h 448"/>
                <a:gd name="T14" fmla="*/ 431 w 513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3" h="448">
                  <a:moveTo>
                    <a:pt x="431" y="448"/>
                  </a:moveTo>
                  <a:cubicBezTo>
                    <a:pt x="415" y="448"/>
                    <a:pt x="399" y="442"/>
                    <a:pt x="385" y="430"/>
                  </a:cubicBez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478" y="320"/>
                  </a:lnTo>
                  <a:cubicBezTo>
                    <a:pt x="509" y="345"/>
                    <a:pt x="513" y="391"/>
                    <a:pt x="487" y="422"/>
                  </a:cubicBezTo>
                  <a:cubicBezTo>
                    <a:pt x="473" y="439"/>
                    <a:pt x="452" y="448"/>
                    <a:pt x="431" y="44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941">
              <a:extLst>
                <a:ext uri="{FF2B5EF4-FFF2-40B4-BE49-F238E27FC236}">
                  <a16:creationId xmlns:a16="http://schemas.microsoft.com/office/drawing/2014/main" id="{0F5934E2-1D0C-32FD-35B9-F662D7EB9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6432" y="2633196"/>
              <a:ext cx="572209" cy="325622"/>
            </a:xfrm>
            <a:custGeom>
              <a:avLst/>
              <a:gdLst>
                <a:gd name="T0" fmla="*/ 82 w 2256"/>
                <a:gd name="T1" fmla="*/ 1285 h 1285"/>
                <a:gd name="T2" fmla="*/ 25 w 2256"/>
                <a:gd name="T3" fmla="*/ 1258 h 1285"/>
                <a:gd name="T4" fmla="*/ 36 w 2256"/>
                <a:gd name="T5" fmla="*/ 1156 h 1285"/>
                <a:gd name="T6" fmla="*/ 1449 w 2256"/>
                <a:gd name="T7" fmla="*/ 22 h 1285"/>
                <a:gd name="T8" fmla="*/ 1541 w 2256"/>
                <a:gd name="T9" fmla="*/ 23 h 1285"/>
                <a:gd name="T10" fmla="*/ 2221 w 2256"/>
                <a:gd name="T11" fmla="*/ 597 h 1285"/>
                <a:gd name="T12" fmla="*/ 2230 w 2256"/>
                <a:gd name="T13" fmla="*/ 699 h 1285"/>
                <a:gd name="T14" fmla="*/ 2128 w 2256"/>
                <a:gd name="T15" fmla="*/ 708 h 1285"/>
                <a:gd name="T16" fmla="*/ 1492 w 2256"/>
                <a:gd name="T17" fmla="*/ 172 h 1285"/>
                <a:gd name="T18" fmla="*/ 127 w 2256"/>
                <a:gd name="T19" fmla="*/ 1269 h 1285"/>
                <a:gd name="T20" fmla="*/ 82 w 2256"/>
                <a:gd name="T21" fmla="*/ 1285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6" h="1285">
                  <a:moveTo>
                    <a:pt x="82" y="1285"/>
                  </a:moveTo>
                  <a:cubicBezTo>
                    <a:pt x="61" y="1285"/>
                    <a:pt x="40" y="1276"/>
                    <a:pt x="25" y="1258"/>
                  </a:cubicBezTo>
                  <a:cubicBezTo>
                    <a:pt x="0" y="1227"/>
                    <a:pt x="5" y="1181"/>
                    <a:pt x="36" y="1156"/>
                  </a:cubicBezTo>
                  <a:lnTo>
                    <a:pt x="1449" y="22"/>
                  </a:lnTo>
                  <a:cubicBezTo>
                    <a:pt x="1476" y="0"/>
                    <a:pt x="1514" y="1"/>
                    <a:pt x="1541" y="23"/>
                  </a:cubicBezTo>
                  <a:cubicBezTo>
                    <a:pt x="1544" y="26"/>
                    <a:pt x="1906" y="333"/>
                    <a:pt x="2221" y="597"/>
                  </a:cubicBezTo>
                  <a:cubicBezTo>
                    <a:pt x="2251" y="623"/>
                    <a:pt x="2256" y="669"/>
                    <a:pt x="2230" y="699"/>
                  </a:cubicBezTo>
                  <a:cubicBezTo>
                    <a:pt x="2204" y="730"/>
                    <a:pt x="2158" y="734"/>
                    <a:pt x="2128" y="708"/>
                  </a:cubicBezTo>
                  <a:cubicBezTo>
                    <a:pt x="1879" y="500"/>
                    <a:pt x="1600" y="264"/>
                    <a:pt x="1492" y="172"/>
                  </a:cubicBezTo>
                  <a:lnTo>
                    <a:pt x="127" y="1269"/>
                  </a:lnTo>
                  <a:cubicBezTo>
                    <a:pt x="114" y="1280"/>
                    <a:pt x="98" y="1285"/>
                    <a:pt x="82" y="128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942">
              <a:extLst>
                <a:ext uri="{FF2B5EF4-FFF2-40B4-BE49-F238E27FC236}">
                  <a16:creationId xmlns:a16="http://schemas.microsoft.com/office/drawing/2014/main" id="{228583CD-1918-282C-47A3-60A16DD2E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901" y="2664810"/>
              <a:ext cx="37936" cy="221296"/>
            </a:xfrm>
            <a:custGeom>
              <a:avLst/>
              <a:gdLst>
                <a:gd name="T0" fmla="*/ 73 w 145"/>
                <a:gd name="T1" fmla="*/ 864 h 864"/>
                <a:gd name="T2" fmla="*/ 0 w 145"/>
                <a:gd name="T3" fmla="*/ 791 h 864"/>
                <a:gd name="T4" fmla="*/ 0 w 145"/>
                <a:gd name="T5" fmla="*/ 72 h 864"/>
                <a:gd name="T6" fmla="*/ 73 w 145"/>
                <a:gd name="T7" fmla="*/ 0 h 864"/>
                <a:gd name="T8" fmla="*/ 145 w 145"/>
                <a:gd name="T9" fmla="*/ 72 h 864"/>
                <a:gd name="T10" fmla="*/ 145 w 145"/>
                <a:gd name="T11" fmla="*/ 791 h 864"/>
                <a:gd name="T12" fmla="*/ 73 w 145"/>
                <a:gd name="T13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64">
                  <a:moveTo>
                    <a:pt x="73" y="864"/>
                  </a:moveTo>
                  <a:cubicBezTo>
                    <a:pt x="33" y="864"/>
                    <a:pt x="0" y="831"/>
                    <a:pt x="0" y="791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791"/>
                  </a:lnTo>
                  <a:cubicBezTo>
                    <a:pt x="145" y="831"/>
                    <a:pt x="113" y="864"/>
                    <a:pt x="73" y="8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43">
              <a:extLst>
                <a:ext uri="{FF2B5EF4-FFF2-40B4-BE49-F238E27FC236}">
                  <a16:creationId xmlns:a16="http://schemas.microsoft.com/office/drawing/2014/main" id="{FF021F77-90AA-7D21-8276-0B0DB3B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543" y="2702746"/>
              <a:ext cx="37936" cy="113809"/>
            </a:xfrm>
            <a:custGeom>
              <a:avLst/>
              <a:gdLst>
                <a:gd name="T0" fmla="*/ 72 w 145"/>
                <a:gd name="T1" fmla="*/ 446 h 446"/>
                <a:gd name="T2" fmla="*/ 0 w 145"/>
                <a:gd name="T3" fmla="*/ 374 h 446"/>
                <a:gd name="T4" fmla="*/ 0 w 145"/>
                <a:gd name="T5" fmla="*/ 72 h 446"/>
                <a:gd name="T6" fmla="*/ 72 w 145"/>
                <a:gd name="T7" fmla="*/ 0 h 446"/>
                <a:gd name="T8" fmla="*/ 145 w 145"/>
                <a:gd name="T9" fmla="*/ 72 h 446"/>
                <a:gd name="T10" fmla="*/ 145 w 145"/>
                <a:gd name="T11" fmla="*/ 374 h 446"/>
                <a:gd name="T12" fmla="*/ 72 w 145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46">
                  <a:moveTo>
                    <a:pt x="72" y="446"/>
                  </a:moveTo>
                  <a:cubicBezTo>
                    <a:pt x="32" y="446"/>
                    <a:pt x="0" y="414"/>
                    <a:pt x="0" y="374"/>
                  </a:cubicBezTo>
                  <a:lnTo>
                    <a:pt x="0" y="72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2"/>
                  </a:cubicBezTo>
                  <a:lnTo>
                    <a:pt x="145" y="374"/>
                  </a:lnTo>
                  <a:cubicBezTo>
                    <a:pt x="145" y="414"/>
                    <a:pt x="112" y="446"/>
                    <a:pt x="72" y="4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944">
              <a:extLst>
                <a:ext uri="{FF2B5EF4-FFF2-40B4-BE49-F238E27FC236}">
                  <a16:creationId xmlns:a16="http://schemas.microsoft.com/office/drawing/2014/main" id="{95AA3A6C-38C4-3678-D5B2-247878F7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2" y="2649004"/>
              <a:ext cx="170714" cy="34776"/>
            </a:xfrm>
            <a:custGeom>
              <a:avLst/>
              <a:gdLst>
                <a:gd name="T0" fmla="*/ 591 w 664"/>
                <a:gd name="T1" fmla="*/ 145 h 145"/>
                <a:gd name="T2" fmla="*/ 73 w 664"/>
                <a:gd name="T3" fmla="*/ 145 h 145"/>
                <a:gd name="T4" fmla="*/ 0 w 664"/>
                <a:gd name="T5" fmla="*/ 72 h 145"/>
                <a:gd name="T6" fmla="*/ 73 w 664"/>
                <a:gd name="T7" fmla="*/ 0 h 145"/>
                <a:gd name="T8" fmla="*/ 591 w 664"/>
                <a:gd name="T9" fmla="*/ 0 h 145"/>
                <a:gd name="T10" fmla="*/ 664 w 664"/>
                <a:gd name="T11" fmla="*/ 72 h 145"/>
                <a:gd name="T12" fmla="*/ 591 w 664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145">
                  <a:moveTo>
                    <a:pt x="591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591" y="0"/>
                  </a:lnTo>
                  <a:cubicBezTo>
                    <a:pt x="631" y="0"/>
                    <a:pt x="664" y="32"/>
                    <a:pt x="664" y="72"/>
                  </a:cubicBezTo>
                  <a:cubicBezTo>
                    <a:pt x="664" y="112"/>
                    <a:pt x="631" y="145"/>
                    <a:pt x="591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945">
              <a:extLst>
                <a:ext uri="{FF2B5EF4-FFF2-40B4-BE49-F238E27FC236}">
                  <a16:creationId xmlns:a16="http://schemas.microsoft.com/office/drawing/2014/main" id="{70D76ED3-4F77-6569-F8AA-5A16A37F3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982" y="2743845"/>
              <a:ext cx="613306" cy="275040"/>
            </a:xfrm>
            <a:custGeom>
              <a:avLst/>
              <a:gdLst>
                <a:gd name="T0" fmla="*/ 2321 w 2402"/>
                <a:gd name="T1" fmla="*/ 1079 h 1079"/>
                <a:gd name="T2" fmla="*/ 2274 w 2402"/>
                <a:gd name="T3" fmla="*/ 1062 h 1079"/>
                <a:gd name="T4" fmla="*/ 1208 w 2402"/>
                <a:gd name="T5" fmla="*/ 172 h 1079"/>
                <a:gd name="T6" fmla="*/ 127 w 2402"/>
                <a:gd name="T7" fmla="*/ 1035 h 1079"/>
                <a:gd name="T8" fmla="*/ 25 w 2402"/>
                <a:gd name="T9" fmla="*/ 1024 h 1079"/>
                <a:gd name="T10" fmla="*/ 37 w 2402"/>
                <a:gd name="T11" fmla="*/ 922 h 1079"/>
                <a:gd name="T12" fmla="*/ 1164 w 2402"/>
                <a:gd name="T13" fmla="*/ 22 h 1079"/>
                <a:gd name="T14" fmla="*/ 1255 w 2402"/>
                <a:gd name="T15" fmla="*/ 23 h 1079"/>
                <a:gd name="T16" fmla="*/ 2367 w 2402"/>
                <a:gd name="T17" fmla="*/ 951 h 1079"/>
                <a:gd name="T18" fmla="*/ 2377 w 2402"/>
                <a:gd name="T19" fmla="*/ 1053 h 1079"/>
                <a:gd name="T20" fmla="*/ 2321 w 2402"/>
                <a:gd name="T21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2" h="1079">
                  <a:moveTo>
                    <a:pt x="2321" y="1079"/>
                  </a:moveTo>
                  <a:cubicBezTo>
                    <a:pt x="2304" y="1079"/>
                    <a:pt x="2288" y="1074"/>
                    <a:pt x="2274" y="1062"/>
                  </a:cubicBezTo>
                  <a:lnTo>
                    <a:pt x="1208" y="172"/>
                  </a:lnTo>
                  <a:lnTo>
                    <a:pt x="127" y="1035"/>
                  </a:lnTo>
                  <a:cubicBezTo>
                    <a:pt x="96" y="1060"/>
                    <a:pt x="50" y="1055"/>
                    <a:pt x="25" y="1024"/>
                  </a:cubicBezTo>
                  <a:cubicBezTo>
                    <a:pt x="0" y="992"/>
                    <a:pt x="5" y="947"/>
                    <a:pt x="37" y="922"/>
                  </a:cubicBezTo>
                  <a:lnTo>
                    <a:pt x="1164" y="22"/>
                  </a:lnTo>
                  <a:cubicBezTo>
                    <a:pt x="1190" y="0"/>
                    <a:pt x="1229" y="1"/>
                    <a:pt x="1255" y="23"/>
                  </a:cubicBezTo>
                  <a:lnTo>
                    <a:pt x="2367" y="951"/>
                  </a:lnTo>
                  <a:cubicBezTo>
                    <a:pt x="2398" y="977"/>
                    <a:pt x="2402" y="1022"/>
                    <a:pt x="2377" y="1053"/>
                  </a:cubicBezTo>
                  <a:cubicBezTo>
                    <a:pt x="2362" y="1071"/>
                    <a:pt x="2341" y="1079"/>
                    <a:pt x="2321" y="107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F39A519-03BB-9A97-743C-CD581B9D61BA}"/>
              </a:ext>
            </a:extLst>
          </p:cNvPr>
          <p:cNvSpPr txBox="1"/>
          <p:nvPr/>
        </p:nvSpPr>
        <p:spPr>
          <a:xfrm>
            <a:off x="855839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Days in home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dirty="0"/>
              <a:t>How long mail is live in the ho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5FA1E4-A810-5141-64EB-4ADB645789A0}"/>
              </a:ext>
            </a:extLst>
          </p:cNvPr>
          <p:cNvSpPr txBox="1"/>
          <p:nvPr/>
        </p:nvSpPr>
        <p:spPr>
          <a:xfrm>
            <a:off x="9229322" y="3045267"/>
            <a:ext cx="1266692" cy="7540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300" b="1" dirty="0">
                <a:latin typeface="+mj-lt"/>
              </a:rPr>
              <a:t>5.87</a:t>
            </a:r>
          </a:p>
        </p:txBody>
      </p:sp>
    </p:spTree>
    <p:extLst>
      <p:ext uri="{BB962C8B-B14F-4D97-AF65-F5344CB8AC3E}">
        <p14:creationId xmlns:p14="http://schemas.microsoft.com/office/powerpoint/2010/main" val="2186304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4939F-0248-7668-282A-FCFB0643C9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actions with </a:t>
            </a:r>
            <a:r>
              <a:rPr lang="en-GB"/>
              <a:t>travel mail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5C6BCB-7064-29EA-871F-5CB90AC4911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BF7191-3460-B6EE-92EC-60EA492A572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BCE6509-F6B2-F3C2-3D4A-6E44CAC2DB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Item Database, 2024, Travel, Tourism &amp; Attractions, n=39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F7A291B-B471-63BA-C215-A0C12F5F06B7}"/>
              </a:ext>
            </a:extLst>
          </p:cNvPr>
          <p:cNvSpPr txBox="1"/>
          <p:nvPr/>
        </p:nvSpPr>
        <p:spPr>
          <a:xfrm>
            <a:off x="2081547" y="2551052"/>
            <a:ext cx="12769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21</a:t>
            </a:r>
            <a:r>
              <a:rPr lang="en-GB" sz="3200" b="1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CFCFA1-69C4-7888-D42F-2D5D0CC304F4}"/>
              </a:ext>
            </a:extLst>
          </p:cNvPr>
          <p:cNvSpPr txBox="1"/>
          <p:nvPr/>
        </p:nvSpPr>
        <p:spPr>
          <a:xfrm>
            <a:off x="10587264" y="3155125"/>
            <a:ext cx="111120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1</a:t>
            </a:r>
            <a:r>
              <a:rPr lang="en-GB" sz="3200" b="1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C7FB20-4C90-1172-9E73-2C3282632F23}"/>
              </a:ext>
            </a:extLst>
          </p:cNvPr>
          <p:cNvSpPr txBox="1"/>
          <p:nvPr/>
        </p:nvSpPr>
        <p:spPr>
          <a:xfrm>
            <a:off x="574479" y="4537146"/>
            <a:ext cx="243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Take a commercial ac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D3A021-C1DC-2860-B1CB-EFEE0F1C5F76}"/>
              </a:ext>
            </a:extLst>
          </p:cNvPr>
          <p:cNvSpPr txBox="1"/>
          <p:nvPr/>
        </p:nvSpPr>
        <p:spPr>
          <a:xfrm>
            <a:off x="5428584" y="4537146"/>
            <a:ext cx="2683523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discuss the mail</a:t>
            </a:r>
          </a:p>
          <a:p>
            <a:pPr algn="ctr"/>
            <a:r>
              <a:rPr lang="en-GB" dirty="0"/>
              <a:t>have a discussion about the mail with someone else in the househol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A4F52B3-39CB-09F7-766A-5D0BB5663E50}"/>
              </a:ext>
            </a:extLst>
          </p:cNvPr>
          <p:cNvSpPr txBox="1"/>
          <p:nvPr/>
        </p:nvSpPr>
        <p:spPr>
          <a:xfrm>
            <a:off x="6744935" y="2891217"/>
            <a:ext cx="12863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7</a:t>
            </a:r>
            <a:r>
              <a:rPr lang="en-GB" sz="3200" b="1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12" name="Arrow3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B3A6937-5BC6-25AA-98EC-6D7B50C74D46}"/>
              </a:ext>
            </a:extLst>
          </p:cNvPr>
          <p:cNvGrpSpPr>
            <a:grpSpLocks noChangeAspect="1"/>
          </p:cNvGrpSpPr>
          <p:nvPr/>
        </p:nvGrpSpPr>
        <p:grpSpPr>
          <a:xfrm>
            <a:off x="4230503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4E2D0F9-4668-00C2-7ED1-B303579B0880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9B34A16-17A7-D4A4-705C-FA482E56AF5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47F946EC-FC00-E478-16AF-5990380285B4}"/>
              </a:ext>
            </a:extLst>
          </p:cNvPr>
          <p:cNvSpPr txBox="1"/>
          <p:nvPr/>
        </p:nvSpPr>
        <p:spPr>
          <a:xfrm>
            <a:off x="3196378" y="4139603"/>
            <a:ext cx="202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21% taking an action go on to…</a:t>
            </a:r>
          </a:p>
        </p:txBody>
      </p:sp>
      <p:grpSp>
        <p:nvGrpSpPr>
          <p:cNvPr id="16" name="Arrow33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7A4B775-175F-0104-332E-A4F1A8F7E4D9}"/>
              </a:ext>
            </a:extLst>
          </p:cNvPr>
          <p:cNvGrpSpPr>
            <a:grpSpLocks noChangeAspect="1"/>
          </p:cNvGrpSpPr>
          <p:nvPr/>
        </p:nvGrpSpPr>
        <p:grpSpPr>
          <a:xfrm>
            <a:off x="3679985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E3F4FD0-5D46-9E51-8232-E6E8362B5E99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C72E462-0154-49C6-D7A1-2633A9A9894C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D4792EA-9562-B8F8-4F34-296EFC6EEC57}"/>
              </a:ext>
            </a:extLst>
          </p:cNvPr>
          <p:cNvGrpSpPr>
            <a:grpSpLocks noChangeAspect="1"/>
          </p:cNvGrpSpPr>
          <p:nvPr/>
        </p:nvGrpSpPr>
        <p:grpSpPr>
          <a:xfrm>
            <a:off x="3129468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A2A6A42-9E76-A77D-1FEB-036B842260A5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1B26699-0DEB-0AD7-DF6A-5FD05AB17326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E7F1A069-7161-AE43-D45D-1973A7292383}"/>
              </a:ext>
            </a:extLst>
          </p:cNvPr>
          <p:cNvSpPr txBox="1"/>
          <p:nvPr/>
        </p:nvSpPr>
        <p:spPr>
          <a:xfrm>
            <a:off x="8540243" y="4537146"/>
            <a:ext cx="2851198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take online actions</a:t>
            </a:r>
          </a:p>
          <a:p>
            <a:pPr algn="ctr"/>
            <a:r>
              <a:rPr lang="en-GB" dirty="0"/>
              <a:t>visit sender’s web site, go online, look up account details, use a tablet or smartphone</a:t>
            </a:r>
          </a:p>
        </p:txBody>
      </p:sp>
      <p:grpSp>
        <p:nvGrpSpPr>
          <p:cNvPr id="23" name="Graphic 4" descr="Chat bubble outline">
            <a:extLst>
              <a:ext uri="{FF2B5EF4-FFF2-40B4-BE49-F238E27FC236}">
                <a16:creationId xmlns:a16="http://schemas.microsoft.com/office/drawing/2014/main" id="{C4379E87-BD3C-3AF3-3CA6-A6BD477F38D7}"/>
              </a:ext>
            </a:extLst>
          </p:cNvPr>
          <p:cNvGrpSpPr/>
          <p:nvPr/>
        </p:nvGrpSpPr>
        <p:grpSpPr>
          <a:xfrm>
            <a:off x="5571434" y="3129712"/>
            <a:ext cx="1147439" cy="1046195"/>
            <a:chOff x="6067195" y="3129712"/>
            <a:chExt cx="1147439" cy="1046195"/>
          </a:xfrm>
          <a:solidFill>
            <a:srgbClr val="000000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2F69CDE-9999-6791-A652-F61459DDE981}"/>
                </a:ext>
              </a:extLst>
            </p:cNvPr>
            <p:cNvSpPr/>
            <p:nvPr/>
          </p:nvSpPr>
          <p:spPr>
            <a:xfrm>
              <a:off x="6067195" y="3129712"/>
              <a:ext cx="1147439" cy="1046195"/>
            </a:xfrm>
            <a:custGeom>
              <a:avLst/>
              <a:gdLst>
                <a:gd name="connsiteX0" fmla="*/ 1079943 w 1147439"/>
                <a:gd name="connsiteY0" fmla="*/ 33748 h 1046195"/>
                <a:gd name="connsiteX1" fmla="*/ 1113692 w 1147439"/>
                <a:gd name="connsiteY1" fmla="*/ 67496 h 1046195"/>
                <a:gd name="connsiteX2" fmla="*/ 1113692 w 1147439"/>
                <a:gd name="connsiteY2" fmla="*/ 742461 h 1046195"/>
                <a:gd name="connsiteX3" fmla="*/ 1079943 w 1147439"/>
                <a:gd name="connsiteY3" fmla="*/ 776209 h 1046195"/>
                <a:gd name="connsiteX4" fmla="*/ 877454 w 1147439"/>
                <a:gd name="connsiteY4" fmla="*/ 776209 h 1046195"/>
                <a:gd name="connsiteX5" fmla="*/ 877454 w 1147439"/>
                <a:gd name="connsiteY5" fmla="*/ 964727 h 1046195"/>
                <a:gd name="connsiteX6" fmla="*/ 707262 w 1147439"/>
                <a:gd name="connsiteY6" fmla="*/ 794535 h 1046195"/>
                <a:gd name="connsiteX7" fmla="*/ 697373 w 1147439"/>
                <a:gd name="connsiteY7" fmla="*/ 784646 h 1046195"/>
                <a:gd name="connsiteX8" fmla="*/ 67496 w 1147439"/>
                <a:gd name="connsiteY8" fmla="*/ 784646 h 1046195"/>
                <a:gd name="connsiteX9" fmla="*/ 33748 w 1147439"/>
                <a:gd name="connsiteY9" fmla="*/ 750898 h 1046195"/>
                <a:gd name="connsiteX10" fmla="*/ 33748 w 1147439"/>
                <a:gd name="connsiteY10" fmla="*/ 67496 h 1046195"/>
                <a:gd name="connsiteX11" fmla="*/ 67496 w 1147439"/>
                <a:gd name="connsiteY11" fmla="*/ 33748 h 1046195"/>
                <a:gd name="connsiteX12" fmla="*/ 1079943 w 1147439"/>
                <a:gd name="connsiteY12" fmla="*/ 33748 h 1046195"/>
                <a:gd name="connsiteX13" fmla="*/ 1079943 w 1147439"/>
                <a:gd name="connsiteY13" fmla="*/ 0 h 1046195"/>
                <a:gd name="connsiteX14" fmla="*/ 67496 w 1147439"/>
                <a:gd name="connsiteY14" fmla="*/ 0 h 1046195"/>
                <a:gd name="connsiteX15" fmla="*/ 0 w 1147439"/>
                <a:gd name="connsiteY15" fmla="*/ 67496 h 1046195"/>
                <a:gd name="connsiteX16" fmla="*/ 0 w 1147439"/>
                <a:gd name="connsiteY16" fmla="*/ 750898 h 1046195"/>
                <a:gd name="connsiteX17" fmla="*/ 67496 w 1147439"/>
                <a:gd name="connsiteY17" fmla="*/ 818395 h 1046195"/>
                <a:gd name="connsiteX18" fmla="*/ 683402 w 1147439"/>
                <a:gd name="connsiteY18" fmla="*/ 818395 h 1046195"/>
                <a:gd name="connsiteX19" fmla="*/ 911202 w 1147439"/>
                <a:gd name="connsiteY19" fmla="*/ 1046195 h 1046195"/>
                <a:gd name="connsiteX20" fmla="*/ 911202 w 1147439"/>
                <a:gd name="connsiteY20" fmla="*/ 809958 h 1046195"/>
                <a:gd name="connsiteX21" fmla="*/ 1079943 w 1147439"/>
                <a:gd name="connsiteY21" fmla="*/ 809958 h 1046195"/>
                <a:gd name="connsiteX22" fmla="*/ 1147440 w 1147439"/>
                <a:gd name="connsiteY22" fmla="*/ 742461 h 1046195"/>
                <a:gd name="connsiteX23" fmla="*/ 1147440 w 1147439"/>
                <a:gd name="connsiteY23" fmla="*/ 67496 h 1046195"/>
                <a:gd name="connsiteX24" fmla="*/ 1079943 w 1147439"/>
                <a:gd name="connsiteY24" fmla="*/ 0 h 104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47439" h="1046195">
                  <a:moveTo>
                    <a:pt x="1079943" y="33748"/>
                  </a:moveTo>
                  <a:cubicBezTo>
                    <a:pt x="1098583" y="33748"/>
                    <a:pt x="1113692" y="48857"/>
                    <a:pt x="1113692" y="67496"/>
                  </a:cubicBezTo>
                  <a:lnTo>
                    <a:pt x="1113692" y="742461"/>
                  </a:lnTo>
                  <a:cubicBezTo>
                    <a:pt x="1113692" y="761100"/>
                    <a:pt x="1098583" y="776209"/>
                    <a:pt x="1079943" y="776209"/>
                  </a:cubicBezTo>
                  <a:lnTo>
                    <a:pt x="877454" y="776209"/>
                  </a:lnTo>
                  <a:lnTo>
                    <a:pt x="877454" y="964727"/>
                  </a:lnTo>
                  <a:lnTo>
                    <a:pt x="707262" y="794535"/>
                  </a:lnTo>
                  <a:lnTo>
                    <a:pt x="697373" y="784646"/>
                  </a:lnTo>
                  <a:lnTo>
                    <a:pt x="67496" y="784646"/>
                  </a:lnTo>
                  <a:cubicBezTo>
                    <a:pt x="48857" y="784646"/>
                    <a:pt x="33748" y="769537"/>
                    <a:pt x="33748" y="750898"/>
                  </a:cubicBezTo>
                  <a:lnTo>
                    <a:pt x="33748" y="67496"/>
                  </a:lnTo>
                  <a:cubicBezTo>
                    <a:pt x="33748" y="48857"/>
                    <a:pt x="48857" y="33748"/>
                    <a:pt x="67496" y="33748"/>
                  </a:cubicBezTo>
                  <a:lnTo>
                    <a:pt x="1079943" y="33748"/>
                  </a:lnTo>
                  <a:moveTo>
                    <a:pt x="1079943" y="0"/>
                  </a:moveTo>
                  <a:lnTo>
                    <a:pt x="67496" y="0"/>
                  </a:lnTo>
                  <a:cubicBezTo>
                    <a:pt x="30220" y="0"/>
                    <a:pt x="0" y="30220"/>
                    <a:pt x="0" y="67496"/>
                  </a:cubicBezTo>
                  <a:lnTo>
                    <a:pt x="0" y="750898"/>
                  </a:lnTo>
                  <a:cubicBezTo>
                    <a:pt x="0" y="788175"/>
                    <a:pt x="30220" y="818395"/>
                    <a:pt x="67496" y="818395"/>
                  </a:cubicBezTo>
                  <a:lnTo>
                    <a:pt x="683402" y="818395"/>
                  </a:lnTo>
                  <a:lnTo>
                    <a:pt x="911202" y="1046195"/>
                  </a:lnTo>
                  <a:lnTo>
                    <a:pt x="911202" y="809958"/>
                  </a:lnTo>
                  <a:lnTo>
                    <a:pt x="1079943" y="809958"/>
                  </a:lnTo>
                  <a:cubicBezTo>
                    <a:pt x="1117220" y="809958"/>
                    <a:pt x="1147440" y="779738"/>
                    <a:pt x="1147440" y="742461"/>
                  </a:cubicBezTo>
                  <a:lnTo>
                    <a:pt x="1147440" y="67496"/>
                  </a:lnTo>
                  <a:cubicBezTo>
                    <a:pt x="1147440" y="30220"/>
                    <a:pt x="1117220" y="0"/>
                    <a:pt x="1079943" y="0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50CA405-124B-0D47-4D74-F272A5B88718}"/>
                </a:ext>
              </a:extLst>
            </p:cNvPr>
            <p:cNvSpPr/>
            <p:nvPr/>
          </p:nvSpPr>
          <p:spPr>
            <a:xfrm>
              <a:off x="6860278" y="3484069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9BC91635-2E34-8134-5F81-D143349C338B}"/>
                </a:ext>
              </a:extLst>
            </p:cNvPr>
            <p:cNvSpPr/>
            <p:nvPr/>
          </p:nvSpPr>
          <p:spPr>
            <a:xfrm>
              <a:off x="6590293" y="3484069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08CB3E3-9C93-6315-A724-962F01DDD4E7}"/>
                </a:ext>
              </a:extLst>
            </p:cNvPr>
            <p:cNvSpPr/>
            <p:nvPr/>
          </p:nvSpPr>
          <p:spPr>
            <a:xfrm>
              <a:off x="6320307" y="3484069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28" name="Graphic 123" descr="Chat bubble outline">
            <a:extLst>
              <a:ext uri="{FF2B5EF4-FFF2-40B4-BE49-F238E27FC236}">
                <a16:creationId xmlns:a16="http://schemas.microsoft.com/office/drawing/2014/main" id="{EA8E34BA-70E6-7664-03BD-99C69E7776E5}"/>
              </a:ext>
            </a:extLst>
          </p:cNvPr>
          <p:cNvGrpSpPr/>
          <p:nvPr/>
        </p:nvGrpSpPr>
        <p:grpSpPr>
          <a:xfrm>
            <a:off x="6784970" y="3593126"/>
            <a:ext cx="1147439" cy="1046195"/>
            <a:chOff x="7280731" y="3593126"/>
            <a:chExt cx="1147439" cy="1046195"/>
          </a:xfrm>
          <a:solidFill>
            <a:srgbClr val="000000"/>
          </a:solidFill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6A1C720-3A3B-0542-4B3F-B7AF63F4DFF7}"/>
                </a:ext>
              </a:extLst>
            </p:cNvPr>
            <p:cNvSpPr/>
            <p:nvPr/>
          </p:nvSpPr>
          <p:spPr>
            <a:xfrm>
              <a:off x="7280731" y="3593126"/>
              <a:ext cx="1147439" cy="1046195"/>
            </a:xfrm>
            <a:custGeom>
              <a:avLst/>
              <a:gdLst>
                <a:gd name="connsiteX0" fmla="*/ 1079943 w 1147439"/>
                <a:gd name="connsiteY0" fmla="*/ 33748 h 1046195"/>
                <a:gd name="connsiteX1" fmla="*/ 1113692 w 1147439"/>
                <a:gd name="connsiteY1" fmla="*/ 67496 h 1046195"/>
                <a:gd name="connsiteX2" fmla="*/ 1113692 w 1147439"/>
                <a:gd name="connsiteY2" fmla="*/ 742461 h 1046195"/>
                <a:gd name="connsiteX3" fmla="*/ 1079943 w 1147439"/>
                <a:gd name="connsiteY3" fmla="*/ 776209 h 1046195"/>
                <a:gd name="connsiteX4" fmla="*/ 877454 w 1147439"/>
                <a:gd name="connsiteY4" fmla="*/ 776209 h 1046195"/>
                <a:gd name="connsiteX5" fmla="*/ 877454 w 1147439"/>
                <a:gd name="connsiteY5" fmla="*/ 964727 h 1046195"/>
                <a:gd name="connsiteX6" fmla="*/ 707262 w 1147439"/>
                <a:gd name="connsiteY6" fmla="*/ 794535 h 1046195"/>
                <a:gd name="connsiteX7" fmla="*/ 697373 w 1147439"/>
                <a:gd name="connsiteY7" fmla="*/ 784646 h 1046195"/>
                <a:gd name="connsiteX8" fmla="*/ 67496 w 1147439"/>
                <a:gd name="connsiteY8" fmla="*/ 784646 h 1046195"/>
                <a:gd name="connsiteX9" fmla="*/ 33748 w 1147439"/>
                <a:gd name="connsiteY9" fmla="*/ 750898 h 1046195"/>
                <a:gd name="connsiteX10" fmla="*/ 33748 w 1147439"/>
                <a:gd name="connsiteY10" fmla="*/ 67496 h 1046195"/>
                <a:gd name="connsiteX11" fmla="*/ 67496 w 1147439"/>
                <a:gd name="connsiteY11" fmla="*/ 33748 h 1046195"/>
                <a:gd name="connsiteX12" fmla="*/ 1079943 w 1147439"/>
                <a:gd name="connsiteY12" fmla="*/ 33748 h 1046195"/>
                <a:gd name="connsiteX13" fmla="*/ 1079943 w 1147439"/>
                <a:gd name="connsiteY13" fmla="*/ 0 h 1046195"/>
                <a:gd name="connsiteX14" fmla="*/ 67496 w 1147439"/>
                <a:gd name="connsiteY14" fmla="*/ 0 h 1046195"/>
                <a:gd name="connsiteX15" fmla="*/ 0 w 1147439"/>
                <a:gd name="connsiteY15" fmla="*/ 67496 h 1046195"/>
                <a:gd name="connsiteX16" fmla="*/ 0 w 1147439"/>
                <a:gd name="connsiteY16" fmla="*/ 750898 h 1046195"/>
                <a:gd name="connsiteX17" fmla="*/ 67496 w 1147439"/>
                <a:gd name="connsiteY17" fmla="*/ 818395 h 1046195"/>
                <a:gd name="connsiteX18" fmla="*/ 683402 w 1147439"/>
                <a:gd name="connsiteY18" fmla="*/ 818395 h 1046195"/>
                <a:gd name="connsiteX19" fmla="*/ 911202 w 1147439"/>
                <a:gd name="connsiteY19" fmla="*/ 1046195 h 1046195"/>
                <a:gd name="connsiteX20" fmla="*/ 911202 w 1147439"/>
                <a:gd name="connsiteY20" fmla="*/ 809958 h 1046195"/>
                <a:gd name="connsiteX21" fmla="*/ 1079943 w 1147439"/>
                <a:gd name="connsiteY21" fmla="*/ 809958 h 1046195"/>
                <a:gd name="connsiteX22" fmla="*/ 1147440 w 1147439"/>
                <a:gd name="connsiteY22" fmla="*/ 742461 h 1046195"/>
                <a:gd name="connsiteX23" fmla="*/ 1147440 w 1147439"/>
                <a:gd name="connsiteY23" fmla="*/ 67496 h 1046195"/>
                <a:gd name="connsiteX24" fmla="*/ 1079943 w 1147439"/>
                <a:gd name="connsiteY24" fmla="*/ 0 h 1046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47439" h="1046195">
                  <a:moveTo>
                    <a:pt x="1079943" y="33748"/>
                  </a:moveTo>
                  <a:cubicBezTo>
                    <a:pt x="1098583" y="33748"/>
                    <a:pt x="1113692" y="48857"/>
                    <a:pt x="1113692" y="67496"/>
                  </a:cubicBezTo>
                  <a:lnTo>
                    <a:pt x="1113692" y="742461"/>
                  </a:lnTo>
                  <a:cubicBezTo>
                    <a:pt x="1113692" y="761100"/>
                    <a:pt x="1098583" y="776209"/>
                    <a:pt x="1079943" y="776209"/>
                  </a:cubicBezTo>
                  <a:lnTo>
                    <a:pt x="877454" y="776209"/>
                  </a:lnTo>
                  <a:lnTo>
                    <a:pt x="877454" y="964727"/>
                  </a:lnTo>
                  <a:lnTo>
                    <a:pt x="707262" y="794535"/>
                  </a:lnTo>
                  <a:lnTo>
                    <a:pt x="697373" y="784646"/>
                  </a:lnTo>
                  <a:lnTo>
                    <a:pt x="67496" y="784646"/>
                  </a:lnTo>
                  <a:cubicBezTo>
                    <a:pt x="48857" y="784646"/>
                    <a:pt x="33748" y="769537"/>
                    <a:pt x="33748" y="750898"/>
                  </a:cubicBezTo>
                  <a:lnTo>
                    <a:pt x="33748" y="67496"/>
                  </a:lnTo>
                  <a:cubicBezTo>
                    <a:pt x="33748" y="48857"/>
                    <a:pt x="48857" y="33748"/>
                    <a:pt x="67496" y="33748"/>
                  </a:cubicBezTo>
                  <a:lnTo>
                    <a:pt x="1079943" y="33748"/>
                  </a:lnTo>
                  <a:moveTo>
                    <a:pt x="1079943" y="0"/>
                  </a:moveTo>
                  <a:lnTo>
                    <a:pt x="67496" y="0"/>
                  </a:lnTo>
                  <a:cubicBezTo>
                    <a:pt x="30220" y="0"/>
                    <a:pt x="0" y="30220"/>
                    <a:pt x="0" y="67496"/>
                  </a:cubicBezTo>
                  <a:lnTo>
                    <a:pt x="0" y="750898"/>
                  </a:lnTo>
                  <a:cubicBezTo>
                    <a:pt x="0" y="788175"/>
                    <a:pt x="30220" y="818395"/>
                    <a:pt x="67496" y="818395"/>
                  </a:cubicBezTo>
                  <a:lnTo>
                    <a:pt x="683402" y="818395"/>
                  </a:lnTo>
                  <a:lnTo>
                    <a:pt x="911202" y="1046195"/>
                  </a:lnTo>
                  <a:lnTo>
                    <a:pt x="911202" y="809958"/>
                  </a:lnTo>
                  <a:lnTo>
                    <a:pt x="1079943" y="809958"/>
                  </a:lnTo>
                  <a:cubicBezTo>
                    <a:pt x="1117220" y="809958"/>
                    <a:pt x="1147440" y="779738"/>
                    <a:pt x="1147440" y="742461"/>
                  </a:cubicBezTo>
                  <a:lnTo>
                    <a:pt x="1147440" y="67496"/>
                  </a:lnTo>
                  <a:cubicBezTo>
                    <a:pt x="1147440" y="30220"/>
                    <a:pt x="1117220" y="0"/>
                    <a:pt x="1079943" y="0"/>
                  </a:cubicBezTo>
                  <a:close/>
                </a:path>
              </a:pathLst>
            </a:custGeom>
            <a:solidFill>
              <a:srgbClr val="000000"/>
            </a:solidFill>
            <a:ln w="2857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D3CB2111-52ED-B606-4010-B4689031F083}"/>
                </a:ext>
              </a:extLst>
            </p:cNvPr>
            <p:cNvSpPr/>
            <p:nvPr/>
          </p:nvSpPr>
          <p:spPr>
            <a:xfrm>
              <a:off x="8073814" y="3947483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7410FF6-3744-A1F4-2817-A4C610F7D7C6}"/>
                </a:ext>
              </a:extLst>
            </p:cNvPr>
            <p:cNvSpPr/>
            <p:nvPr/>
          </p:nvSpPr>
          <p:spPr>
            <a:xfrm>
              <a:off x="7803829" y="3947483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DC1ED9D1-BE70-6856-F6B4-1870D36ECBBB}"/>
                </a:ext>
              </a:extLst>
            </p:cNvPr>
            <p:cNvSpPr/>
            <p:nvPr/>
          </p:nvSpPr>
          <p:spPr>
            <a:xfrm>
              <a:off x="7533843" y="3947483"/>
              <a:ext cx="101244" cy="101244"/>
            </a:xfrm>
            <a:custGeom>
              <a:avLst/>
              <a:gdLst>
                <a:gd name="connsiteX0" fmla="*/ 101245 w 101244"/>
                <a:gd name="connsiteY0" fmla="*/ 50622 h 101244"/>
                <a:gd name="connsiteX1" fmla="*/ 50622 w 101244"/>
                <a:gd name="connsiteY1" fmla="*/ 101245 h 101244"/>
                <a:gd name="connsiteX2" fmla="*/ 0 w 101244"/>
                <a:gd name="connsiteY2" fmla="*/ 50622 h 101244"/>
                <a:gd name="connsiteX3" fmla="*/ 50622 w 101244"/>
                <a:gd name="connsiteY3" fmla="*/ 0 h 101244"/>
                <a:gd name="connsiteX4" fmla="*/ 101245 w 101244"/>
                <a:gd name="connsiteY4" fmla="*/ 50622 h 101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244" h="101244">
                  <a:moveTo>
                    <a:pt x="101245" y="50622"/>
                  </a:moveTo>
                  <a:cubicBezTo>
                    <a:pt x="101245" y="78580"/>
                    <a:pt x="78580" y="101245"/>
                    <a:pt x="50622" y="101245"/>
                  </a:cubicBezTo>
                  <a:cubicBezTo>
                    <a:pt x="22664" y="101245"/>
                    <a:pt x="0" y="78580"/>
                    <a:pt x="0" y="50622"/>
                  </a:cubicBezTo>
                  <a:cubicBezTo>
                    <a:pt x="0" y="22664"/>
                    <a:pt x="22664" y="0"/>
                    <a:pt x="50622" y="0"/>
                  </a:cubicBezTo>
                  <a:cubicBezTo>
                    <a:pt x="78580" y="0"/>
                    <a:pt x="101245" y="22664"/>
                    <a:pt x="101245" y="50622"/>
                  </a:cubicBezTo>
                  <a:close/>
                </a:path>
              </a:pathLst>
            </a:custGeom>
            <a:solidFill>
              <a:schemeClr val="accent1"/>
            </a:solidFill>
            <a:ln w="28575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C66906C-E5DA-F423-3CCB-7B34C1EAC91F}"/>
              </a:ext>
            </a:extLst>
          </p:cNvPr>
          <p:cNvGrpSpPr/>
          <p:nvPr/>
        </p:nvGrpSpPr>
        <p:grpSpPr>
          <a:xfrm>
            <a:off x="962975" y="3058380"/>
            <a:ext cx="1593859" cy="1361179"/>
            <a:chOff x="1302394" y="2915456"/>
            <a:chExt cx="1928570" cy="1647027"/>
          </a:xfrm>
        </p:grpSpPr>
        <p:sp>
          <p:nvSpPr>
            <p:cNvPr id="34" name="Freeform 669">
              <a:extLst>
                <a:ext uri="{FF2B5EF4-FFF2-40B4-BE49-F238E27FC236}">
                  <a16:creationId xmlns:a16="http://schemas.microsoft.com/office/drawing/2014/main" id="{E73FEDC8-F109-9057-84A9-20F0E6303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397" y="3154768"/>
              <a:ext cx="1632946" cy="760166"/>
            </a:xfrm>
            <a:custGeom>
              <a:avLst/>
              <a:gdLst>
                <a:gd name="T0" fmla="*/ 7 w 403"/>
                <a:gd name="T1" fmla="*/ 187 h 187"/>
                <a:gd name="T2" fmla="*/ 0 w 403"/>
                <a:gd name="T3" fmla="*/ 180 h 187"/>
                <a:gd name="T4" fmla="*/ 0 w 403"/>
                <a:gd name="T5" fmla="*/ 47 h 187"/>
                <a:gd name="T6" fmla="*/ 47 w 403"/>
                <a:gd name="T7" fmla="*/ 0 h 187"/>
                <a:gd name="T8" fmla="*/ 356 w 403"/>
                <a:gd name="T9" fmla="*/ 0 h 187"/>
                <a:gd name="T10" fmla="*/ 403 w 403"/>
                <a:gd name="T11" fmla="*/ 47 h 187"/>
                <a:gd name="T12" fmla="*/ 403 w 403"/>
                <a:gd name="T13" fmla="*/ 108 h 187"/>
                <a:gd name="T14" fmla="*/ 396 w 403"/>
                <a:gd name="T15" fmla="*/ 115 h 187"/>
                <a:gd name="T16" fmla="*/ 388 w 403"/>
                <a:gd name="T17" fmla="*/ 108 h 187"/>
                <a:gd name="T18" fmla="*/ 388 w 403"/>
                <a:gd name="T19" fmla="*/ 47 h 187"/>
                <a:gd name="T20" fmla="*/ 356 w 403"/>
                <a:gd name="T21" fmla="*/ 15 h 187"/>
                <a:gd name="T22" fmla="*/ 47 w 403"/>
                <a:gd name="T23" fmla="*/ 15 h 187"/>
                <a:gd name="T24" fmla="*/ 15 w 403"/>
                <a:gd name="T25" fmla="*/ 47 h 187"/>
                <a:gd name="T26" fmla="*/ 15 w 403"/>
                <a:gd name="T27" fmla="*/ 180 h 187"/>
                <a:gd name="T28" fmla="*/ 7 w 403"/>
                <a:gd name="T29" fmla="*/ 187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03" h="187">
                  <a:moveTo>
                    <a:pt x="7" y="187"/>
                  </a:moveTo>
                  <a:cubicBezTo>
                    <a:pt x="3" y="187"/>
                    <a:pt x="0" y="184"/>
                    <a:pt x="0" y="180"/>
                  </a:cubicBezTo>
                  <a:lnTo>
                    <a:pt x="0" y="47"/>
                  </a:lnTo>
                  <a:cubicBezTo>
                    <a:pt x="0" y="21"/>
                    <a:pt x="21" y="0"/>
                    <a:pt x="47" y="0"/>
                  </a:cubicBezTo>
                  <a:lnTo>
                    <a:pt x="356" y="0"/>
                  </a:lnTo>
                  <a:cubicBezTo>
                    <a:pt x="382" y="0"/>
                    <a:pt x="403" y="21"/>
                    <a:pt x="403" y="47"/>
                  </a:cubicBezTo>
                  <a:lnTo>
                    <a:pt x="403" y="108"/>
                  </a:lnTo>
                  <a:cubicBezTo>
                    <a:pt x="403" y="112"/>
                    <a:pt x="400" y="115"/>
                    <a:pt x="396" y="115"/>
                  </a:cubicBezTo>
                  <a:cubicBezTo>
                    <a:pt x="392" y="115"/>
                    <a:pt x="388" y="112"/>
                    <a:pt x="388" y="108"/>
                  </a:cubicBezTo>
                  <a:lnTo>
                    <a:pt x="388" y="47"/>
                  </a:lnTo>
                  <a:cubicBezTo>
                    <a:pt x="388" y="29"/>
                    <a:pt x="374" y="15"/>
                    <a:pt x="356" y="15"/>
                  </a:cubicBezTo>
                  <a:lnTo>
                    <a:pt x="47" y="15"/>
                  </a:lnTo>
                  <a:cubicBezTo>
                    <a:pt x="29" y="15"/>
                    <a:pt x="15" y="29"/>
                    <a:pt x="15" y="47"/>
                  </a:cubicBezTo>
                  <a:lnTo>
                    <a:pt x="15" y="180"/>
                  </a:lnTo>
                  <a:cubicBezTo>
                    <a:pt x="15" y="184"/>
                    <a:pt x="12" y="187"/>
                    <a:pt x="7" y="18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670">
              <a:extLst>
                <a:ext uri="{FF2B5EF4-FFF2-40B4-BE49-F238E27FC236}">
                  <a16:creationId xmlns:a16="http://schemas.microsoft.com/office/drawing/2014/main" id="{6C8F84C3-B14E-4826-0707-4ACB57784B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9296" y="3886780"/>
              <a:ext cx="739051" cy="464546"/>
            </a:xfrm>
            <a:custGeom>
              <a:avLst/>
              <a:gdLst>
                <a:gd name="T0" fmla="*/ 136 w 183"/>
                <a:gd name="T1" fmla="*/ 114 h 114"/>
                <a:gd name="T2" fmla="*/ 8 w 183"/>
                <a:gd name="T3" fmla="*/ 114 h 114"/>
                <a:gd name="T4" fmla="*/ 0 w 183"/>
                <a:gd name="T5" fmla="*/ 107 h 114"/>
                <a:gd name="T6" fmla="*/ 8 w 183"/>
                <a:gd name="T7" fmla="*/ 100 h 114"/>
                <a:gd name="T8" fmla="*/ 136 w 183"/>
                <a:gd name="T9" fmla="*/ 100 h 114"/>
                <a:gd name="T10" fmla="*/ 168 w 183"/>
                <a:gd name="T11" fmla="*/ 67 h 114"/>
                <a:gd name="T12" fmla="*/ 168 w 183"/>
                <a:gd name="T13" fmla="*/ 7 h 114"/>
                <a:gd name="T14" fmla="*/ 176 w 183"/>
                <a:gd name="T15" fmla="*/ 0 h 114"/>
                <a:gd name="T16" fmla="*/ 183 w 183"/>
                <a:gd name="T17" fmla="*/ 7 h 114"/>
                <a:gd name="T18" fmla="*/ 183 w 183"/>
                <a:gd name="T19" fmla="*/ 67 h 114"/>
                <a:gd name="T20" fmla="*/ 136 w 183"/>
                <a:gd name="T2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3" h="114">
                  <a:moveTo>
                    <a:pt x="136" y="114"/>
                  </a:moveTo>
                  <a:lnTo>
                    <a:pt x="8" y="114"/>
                  </a:lnTo>
                  <a:cubicBezTo>
                    <a:pt x="4" y="114"/>
                    <a:pt x="0" y="111"/>
                    <a:pt x="0" y="107"/>
                  </a:cubicBezTo>
                  <a:cubicBezTo>
                    <a:pt x="0" y="103"/>
                    <a:pt x="4" y="100"/>
                    <a:pt x="8" y="100"/>
                  </a:cubicBezTo>
                  <a:lnTo>
                    <a:pt x="136" y="100"/>
                  </a:lnTo>
                  <a:cubicBezTo>
                    <a:pt x="154" y="100"/>
                    <a:pt x="168" y="85"/>
                    <a:pt x="168" y="67"/>
                  </a:cubicBezTo>
                  <a:lnTo>
                    <a:pt x="168" y="7"/>
                  </a:lnTo>
                  <a:cubicBezTo>
                    <a:pt x="168" y="3"/>
                    <a:pt x="172" y="0"/>
                    <a:pt x="176" y="0"/>
                  </a:cubicBezTo>
                  <a:cubicBezTo>
                    <a:pt x="180" y="0"/>
                    <a:pt x="183" y="3"/>
                    <a:pt x="183" y="7"/>
                  </a:cubicBezTo>
                  <a:lnTo>
                    <a:pt x="183" y="67"/>
                  </a:lnTo>
                  <a:cubicBezTo>
                    <a:pt x="183" y="93"/>
                    <a:pt x="162" y="114"/>
                    <a:pt x="136" y="114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671">
              <a:extLst>
                <a:ext uri="{FF2B5EF4-FFF2-40B4-BE49-F238E27FC236}">
                  <a16:creationId xmlns:a16="http://schemas.microsoft.com/office/drawing/2014/main" id="{AAFBABEE-9AB9-8170-1547-12B22E1F48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7532" y="3563005"/>
              <a:ext cx="443432" cy="380083"/>
            </a:xfrm>
            <a:custGeom>
              <a:avLst/>
              <a:gdLst>
                <a:gd name="T0" fmla="*/ 32 w 110"/>
                <a:gd name="T1" fmla="*/ 15 h 95"/>
                <a:gd name="T2" fmla="*/ 15 w 110"/>
                <a:gd name="T3" fmla="*/ 33 h 95"/>
                <a:gd name="T4" fmla="*/ 15 w 110"/>
                <a:gd name="T5" fmla="*/ 63 h 95"/>
                <a:gd name="T6" fmla="*/ 32 w 110"/>
                <a:gd name="T7" fmla="*/ 81 h 95"/>
                <a:gd name="T8" fmla="*/ 78 w 110"/>
                <a:gd name="T9" fmla="*/ 81 h 95"/>
                <a:gd name="T10" fmla="*/ 96 w 110"/>
                <a:gd name="T11" fmla="*/ 63 h 95"/>
                <a:gd name="T12" fmla="*/ 96 w 110"/>
                <a:gd name="T13" fmla="*/ 33 h 95"/>
                <a:gd name="T14" fmla="*/ 78 w 110"/>
                <a:gd name="T15" fmla="*/ 15 h 95"/>
                <a:gd name="T16" fmla="*/ 32 w 110"/>
                <a:gd name="T17" fmla="*/ 15 h 95"/>
                <a:gd name="T18" fmla="*/ 78 w 110"/>
                <a:gd name="T19" fmla="*/ 95 h 95"/>
                <a:gd name="T20" fmla="*/ 32 w 110"/>
                <a:gd name="T21" fmla="*/ 95 h 95"/>
                <a:gd name="T22" fmla="*/ 0 w 110"/>
                <a:gd name="T23" fmla="*/ 63 h 95"/>
                <a:gd name="T24" fmla="*/ 0 w 110"/>
                <a:gd name="T25" fmla="*/ 33 h 95"/>
                <a:gd name="T26" fmla="*/ 32 w 110"/>
                <a:gd name="T27" fmla="*/ 0 h 95"/>
                <a:gd name="T28" fmla="*/ 78 w 110"/>
                <a:gd name="T29" fmla="*/ 0 h 95"/>
                <a:gd name="T30" fmla="*/ 110 w 110"/>
                <a:gd name="T31" fmla="*/ 33 h 95"/>
                <a:gd name="T32" fmla="*/ 110 w 110"/>
                <a:gd name="T33" fmla="*/ 63 h 95"/>
                <a:gd name="T34" fmla="*/ 78 w 110"/>
                <a:gd name="T35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0" h="95">
                  <a:moveTo>
                    <a:pt x="32" y="15"/>
                  </a:moveTo>
                  <a:cubicBezTo>
                    <a:pt x="23" y="15"/>
                    <a:pt x="15" y="23"/>
                    <a:pt x="15" y="33"/>
                  </a:cubicBezTo>
                  <a:lnTo>
                    <a:pt x="15" y="63"/>
                  </a:lnTo>
                  <a:cubicBezTo>
                    <a:pt x="15" y="73"/>
                    <a:pt x="23" y="81"/>
                    <a:pt x="32" y="81"/>
                  </a:cubicBezTo>
                  <a:lnTo>
                    <a:pt x="78" y="81"/>
                  </a:lnTo>
                  <a:cubicBezTo>
                    <a:pt x="87" y="81"/>
                    <a:pt x="96" y="73"/>
                    <a:pt x="96" y="63"/>
                  </a:cubicBezTo>
                  <a:lnTo>
                    <a:pt x="96" y="33"/>
                  </a:lnTo>
                  <a:cubicBezTo>
                    <a:pt x="96" y="23"/>
                    <a:pt x="87" y="15"/>
                    <a:pt x="78" y="15"/>
                  </a:cubicBezTo>
                  <a:lnTo>
                    <a:pt x="32" y="15"/>
                  </a:lnTo>
                  <a:close/>
                  <a:moveTo>
                    <a:pt x="78" y="95"/>
                  </a:moveTo>
                  <a:lnTo>
                    <a:pt x="32" y="95"/>
                  </a:lnTo>
                  <a:cubicBezTo>
                    <a:pt x="15" y="95"/>
                    <a:pt x="0" y="81"/>
                    <a:pt x="0" y="63"/>
                  </a:cubicBezTo>
                  <a:lnTo>
                    <a:pt x="0" y="33"/>
                  </a:lnTo>
                  <a:cubicBezTo>
                    <a:pt x="0" y="15"/>
                    <a:pt x="15" y="0"/>
                    <a:pt x="32" y="0"/>
                  </a:cubicBezTo>
                  <a:lnTo>
                    <a:pt x="78" y="0"/>
                  </a:lnTo>
                  <a:cubicBezTo>
                    <a:pt x="96" y="0"/>
                    <a:pt x="110" y="15"/>
                    <a:pt x="110" y="33"/>
                  </a:cubicBezTo>
                  <a:lnTo>
                    <a:pt x="110" y="63"/>
                  </a:lnTo>
                  <a:cubicBezTo>
                    <a:pt x="110" y="81"/>
                    <a:pt x="96" y="95"/>
                    <a:pt x="78" y="95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672">
              <a:extLst>
                <a:ext uri="{FF2B5EF4-FFF2-40B4-BE49-F238E27FC236}">
                  <a16:creationId xmlns:a16="http://schemas.microsoft.com/office/drawing/2014/main" id="{03A8DE95-F824-9A84-6ABC-412BCF2D786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0592" y="2915456"/>
              <a:ext cx="1288059" cy="197080"/>
            </a:xfrm>
            <a:custGeom>
              <a:avLst/>
              <a:gdLst>
                <a:gd name="T0" fmla="*/ 309 w 318"/>
                <a:gd name="T1" fmla="*/ 49 h 49"/>
                <a:gd name="T2" fmla="*/ 303 w 318"/>
                <a:gd name="T3" fmla="*/ 45 h 49"/>
                <a:gd name="T4" fmla="*/ 250 w 318"/>
                <a:gd name="T5" fmla="*/ 18 h 49"/>
                <a:gd name="T6" fmla="*/ 9 w 318"/>
                <a:gd name="T7" fmla="*/ 49 h 49"/>
                <a:gd name="T8" fmla="*/ 0 w 318"/>
                <a:gd name="T9" fmla="*/ 43 h 49"/>
                <a:gd name="T10" fmla="*/ 7 w 318"/>
                <a:gd name="T11" fmla="*/ 34 h 49"/>
                <a:gd name="T12" fmla="*/ 248 w 318"/>
                <a:gd name="T13" fmla="*/ 3 h 49"/>
                <a:gd name="T14" fmla="*/ 316 w 318"/>
                <a:gd name="T15" fmla="*/ 38 h 49"/>
                <a:gd name="T16" fmla="*/ 313 w 318"/>
                <a:gd name="T17" fmla="*/ 48 h 49"/>
                <a:gd name="T18" fmla="*/ 309 w 318"/>
                <a:gd name="T1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8" h="49">
                  <a:moveTo>
                    <a:pt x="309" y="49"/>
                  </a:moveTo>
                  <a:cubicBezTo>
                    <a:pt x="307" y="49"/>
                    <a:pt x="304" y="48"/>
                    <a:pt x="303" y="45"/>
                  </a:cubicBezTo>
                  <a:cubicBezTo>
                    <a:pt x="293" y="26"/>
                    <a:pt x="271" y="15"/>
                    <a:pt x="250" y="18"/>
                  </a:cubicBezTo>
                  <a:lnTo>
                    <a:pt x="9" y="49"/>
                  </a:lnTo>
                  <a:cubicBezTo>
                    <a:pt x="5" y="49"/>
                    <a:pt x="1" y="47"/>
                    <a:pt x="0" y="43"/>
                  </a:cubicBezTo>
                  <a:cubicBezTo>
                    <a:pt x="0" y="39"/>
                    <a:pt x="3" y="35"/>
                    <a:pt x="7" y="34"/>
                  </a:cubicBezTo>
                  <a:lnTo>
                    <a:pt x="248" y="3"/>
                  </a:lnTo>
                  <a:cubicBezTo>
                    <a:pt x="275" y="0"/>
                    <a:pt x="303" y="14"/>
                    <a:pt x="316" y="38"/>
                  </a:cubicBezTo>
                  <a:cubicBezTo>
                    <a:pt x="318" y="42"/>
                    <a:pt x="316" y="46"/>
                    <a:pt x="313" y="48"/>
                  </a:cubicBezTo>
                  <a:cubicBezTo>
                    <a:pt x="312" y="49"/>
                    <a:pt x="311" y="49"/>
                    <a:pt x="309" y="49"/>
                  </a:cubicBezTo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673">
              <a:extLst>
                <a:ext uri="{FF2B5EF4-FFF2-40B4-BE49-F238E27FC236}">
                  <a16:creationId xmlns:a16="http://schemas.microsoft.com/office/drawing/2014/main" id="{A255EB5C-7B89-F587-FAD3-B886BC238C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2862" y="4344285"/>
              <a:ext cx="527894" cy="218198"/>
            </a:xfrm>
            <a:custGeom>
              <a:avLst/>
              <a:gdLst>
                <a:gd name="T0" fmla="*/ 123 w 131"/>
                <a:gd name="T1" fmla="*/ 54 h 54"/>
                <a:gd name="T2" fmla="*/ 8 w 131"/>
                <a:gd name="T3" fmla="*/ 54 h 54"/>
                <a:gd name="T4" fmla="*/ 0 w 131"/>
                <a:gd name="T5" fmla="*/ 47 h 54"/>
                <a:gd name="T6" fmla="*/ 0 w 131"/>
                <a:gd name="T7" fmla="*/ 35 h 54"/>
                <a:gd name="T8" fmla="*/ 8 w 131"/>
                <a:gd name="T9" fmla="*/ 27 h 54"/>
                <a:gd name="T10" fmla="*/ 15 w 131"/>
                <a:gd name="T11" fmla="*/ 35 h 54"/>
                <a:gd name="T12" fmla="*/ 15 w 131"/>
                <a:gd name="T13" fmla="*/ 40 h 54"/>
                <a:gd name="T14" fmla="*/ 116 w 131"/>
                <a:gd name="T15" fmla="*/ 40 h 54"/>
                <a:gd name="T16" fmla="*/ 116 w 131"/>
                <a:gd name="T17" fmla="*/ 14 h 54"/>
                <a:gd name="T18" fmla="*/ 32 w 131"/>
                <a:gd name="T19" fmla="*/ 14 h 54"/>
                <a:gd name="T20" fmla="*/ 25 w 131"/>
                <a:gd name="T21" fmla="*/ 7 h 54"/>
                <a:gd name="T22" fmla="*/ 32 w 131"/>
                <a:gd name="T23" fmla="*/ 0 h 54"/>
                <a:gd name="T24" fmla="*/ 123 w 131"/>
                <a:gd name="T25" fmla="*/ 0 h 54"/>
                <a:gd name="T26" fmla="*/ 131 w 131"/>
                <a:gd name="T27" fmla="*/ 7 h 54"/>
                <a:gd name="T28" fmla="*/ 131 w 131"/>
                <a:gd name="T29" fmla="*/ 47 h 54"/>
                <a:gd name="T30" fmla="*/ 123 w 131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1" h="54">
                  <a:moveTo>
                    <a:pt x="123" y="54"/>
                  </a:moveTo>
                  <a:lnTo>
                    <a:pt x="8" y="54"/>
                  </a:lnTo>
                  <a:cubicBezTo>
                    <a:pt x="4" y="54"/>
                    <a:pt x="0" y="51"/>
                    <a:pt x="0" y="47"/>
                  </a:cubicBezTo>
                  <a:lnTo>
                    <a:pt x="0" y="35"/>
                  </a:lnTo>
                  <a:cubicBezTo>
                    <a:pt x="0" y="31"/>
                    <a:pt x="4" y="27"/>
                    <a:pt x="8" y="27"/>
                  </a:cubicBezTo>
                  <a:cubicBezTo>
                    <a:pt x="12" y="27"/>
                    <a:pt x="15" y="31"/>
                    <a:pt x="15" y="35"/>
                  </a:cubicBezTo>
                  <a:lnTo>
                    <a:pt x="15" y="40"/>
                  </a:lnTo>
                  <a:lnTo>
                    <a:pt x="116" y="40"/>
                  </a:lnTo>
                  <a:lnTo>
                    <a:pt x="116" y="14"/>
                  </a:lnTo>
                  <a:lnTo>
                    <a:pt x="32" y="14"/>
                  </a:lnTo>
                  <a:cubicBezTo>
                    <a:pt x="28" y="14"/>
                    <a:pt x="25" y="11"/>
                    <a:pt x="25" y="7"/>
                  </a:cubicBezTo>
                  <a:cubicBezTo>
                    <a:pt x="25" y="3"/>
                    <a:pt x="28" y="0"/>
                    <a:pt x="32" y="0"/>
                  </a:cubicBezTo>
                  <a:lnTo>
                    <a:pt x="123" y="0"/>
                  </a:lnTo>
                  <a:cubicBezTo>
                    <a:pt x="127" y="0"/>
                    <a:pt x="131" y="3"/>
                    <a:pt x="131" y="7"/>
                  </a:cubicBezTo>
                  <a:lnTo>
                    <a:pt x="131" y="47"/>
                  </a:lnTo>
                  <a:cubicBezTo>
                    <a:pt x="131" y="51"/>
                    <a:pt x="127" y="54"/>
                    <a:pt x="123" y="5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674">
              <a:extLst>
                <a:ext uri="{FF2B5EF4-FFF2-40B4-BE49-F238E27FC236}">
                  <a16:creationId xmlns:a16="http://schemas.microsoft.com/office/drawing/2014/main" id="{37152701-37E2-47F9-3F03-4BCC24E8361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8442" y="4182400"/>
              <a:ext cx="492699" cy="218198"/>
            </a:xfrm>
            <a:custGeom>
              <a:avLst/>
              <a:gdLst>
                <a:gd name="T0" fmla="*/ 115 w 123"/>
                <a:gd name="T1" fmla="*/ 54 h 54"/>
                <a:gd name="T2" fmla="*/ 7 w 123"/>
                <a:gd name="T3" fmla="*/ 54 h 54"/>
                <a:gd name="T4" fmla="*/ 0 w 123"/>
                <a:gd name="T5" fmla="*/ 47 h 54"/>
                <a:gd name="T6" fmla="*/ 7 w 123"/>
                <a:gd name="T7" fmla="*/ 40 h 54"/>
                <a:gd name="T8" fmla="*/ 108 w 123"/>
                <a:gd name="T9" fmla="*/ 40 h 54"/>
                <a:gd name="T10" fmla="*/ 108 w 123"/>
                <a:gd name="T11" fmla="*/ 14 h 54"/>
                <a:gd name="T12" fmla="*/ 14 w 123"/>
                <a:gd name="T13" fmla="*/ 14 h 54"/>
                <a:gd name="T14" fmla="*/ 6 w 123"/>
                <a:gd name="T15" fmla="*/ 7 h 54"/>
                <a:gd name="T16" fmla="*/ 14 w 123"/>
                <a:gd name="T17" fmla="*/ 0 h 54"/>
                <a:gd name="T18" fmla="*/ 115 w 123"/>
                <a:gd name="T19" fmla="*/ 0 h 54"/>
                <a:gd name="T20" fmla="*/ 123 w 123"/>
                <a:gd name="T21" fmla="*/ 7 h 54"/>
                <a:gd name="T22" fmla="*/ 123 w 123"/>
                <a:gd name="T23" fmla="*/ 47 h 54"/>
                <a:gd name="T24" fmla="*/ 115 w 123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3" h="54">
                  <a:moveTo>
                    <a:pt x="115" y="54"/>
                  </a:moveTo>
                  <a:lnTo>
                    <a:pt x="7" y="54"/>
                  </a:lnTo>
                  <a:cubicBezTo>
                    <a:pt x="3" y="54"/>
                    <a:pt x="0" y="51"/>
                    <a:pt x="0" y="47"/>
                  </a:cubicBezTo>
                  <a:cubicBezTo>
                    <a:pt x="0" y="43"/>
                    <a:pt x="3" y="40"/>
                    <a:pt x="7" y="40"/>
                  </a:cubicBezTo>
                  <a:lnTo>
                    <a:pt x="108" y="40"/>
                  </a:lnTo>
                  <a:lnTo>
                    <a:pt x="108" y="14"/>
                  </a:lnTo>
                  <a:lnTo>
                    <a:pt x="14" y="14"/>
                  </a:lnTo>
                  <a:cubicBezTo>
                    <a:pt x="10" y="14"/>
                    <a:pt x="6" y="11"/>
                    <a:pt x="6" y="7"/>
                  </a:cubicBezTo>
                  <a:cubicBezTo>
                    <a:pt x="6" y="3"/>
                    <a:pt x="10" y="0"/>
                    <a:pt x="14" y="0"/>
                  </a:cubicBezTo>
                  <a:lnTo>
                    <a:pt x="115" y="0"/>
                  </a:lnTo>
                  <a:cubicBezTo>
                    <a:pt x="119" y="0"/>
                    <a:pt x="123" y="3"/>
                    <a:pt x="123" y="7"/>
                  </a:cubicBezTo>
                  <a:lnTo>
                    <a:pt x="123" y="47"/>
                  </a:lnTo>
                  <a:cubicBezTo>
                    <a:pt x="123" y="51"/>
                    <a:pt x="119" y="54"/>
                    <a:pt x="115" y="54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675">
              <a:extLst>
                <a:ext uri="{FF2B5EF4-FFF2-40B4-BE49-F238E27FC236}">
                  <a16:creationId xmlns:a16="http://schemas.microsoft.com/office/drawing/2014/main" id="{E3D4A32D-F1B9-1976-40F7-5FB5846B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9170" y="4020510"/>
              <a:ext cx="471586" cy="218198"/>
            </a:xfrm>
            <a:custGeom>
              <a:avLst/>
              <a:gdLst>
                <a:gd name="T0" fmla="*/ 110 w 118"/>
                <a:gd name="T1" fmla="*/ 54 h 54"/>
                <a:gd name="T2" fmla="*/ 26 w 118"/>
                <a:gd name="T3" fmla="*/ 54 h 54"/>
                <a:gd name="T4" fmla="*/ 18 w 118"/>
                <a:gd name="T5" fmla="*/ 47 h 54"/>
                <a:gd name="T6" fmla="*/ 26 w 118"/>
                <a:gd name="T7" fmla="*/ 40 h 54"/>
                <a:gd name="T8" fmla="*/ 103 w 118"/>
                <a:gd name="T9" fmla="*/ 40 h 54"/>
                <a:gd name="T10" fmla="*/ 103 w 118"/>
                <a:gd name="T11" fmla="*/ 14 h 54"/>
                <a:gd name="T12" fmla="*/ 7 w 118"/>
                <a:gd name="T13" fmla="*/ 14 h 54"/>
                <a:gd name="T14" fmla="*/ 0 w 118"/>
                <a:gd name="T15" fmla="*/ 7 h 54"/>
                <a:gd name="T16" fmla="*/ 7 w 118"/>
                <a:gd name="T17" fmla="*/ 0 h 54"/>
                <a:gd name="T18" fmla="*/ 110 w 118"/>
                <a:gd name="T19" fmla="*/ 0 h 54"/>
                <a:gd name="T20" fmla="*/ 118 w 118"/>
                <a:gd name="T21" fmla="*/ 7 h 54"/>
                <a:gd name="T22" fmla="*/ 118 w 118"/>
                <a:gd name="T23" fmla="*/ 47 h 54"/>
                <a:gd name="T24" fmla="*/ 110 w 118"/>
                <a:gd name="T2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8" h="54">
                  <a:moveTo>
                    <a:pt x="110" y="54"/>
                  </a:moveTo>
                  <a:lnTo>
                    <a:pt x="26" y="54"/>
                  </a:lnTo>
                  <a:cubicBezTo>
                    <a:pt x="22" y="54"/>
                    <a:pt x="18" y="51"/>
                    <a:pt x="18" y="47"/>
                  </a:cubicBezTo>
                  <a:cubicBezTo>
                    <a:pt x="18" y="43"/>
                    <a:pt x="22" y="40"/>
                    <a:pt x="26" y="40"/>
                  </a:cubicBezTo>
                  <a:lnTo>
                    <a:pt x="103" y="40"/>
                  </a:lnTo>
                  <a:lnTo>
                    <a:pt x="103" y="14"/>
                  </a:lnTo>
                  <a:lnTo>
                    <a:pt x="7" y="14"/>
                  </a:ln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10" y="0"/>
                  </a:lnTo>
                  <a:cubicBezTo>
                    <a:pt x="114" y="0"/>
                    <a:pt x="118" y="3"/>
                    <a:pt x="118" y="7"/>
                  </a:cubicBezTo>
                  <a:lnTo>
                    <a:pt x="118" y="47"/>
                  </a:lnTo>
                  <a:cubicBezTo>
                    <a:pt x="118" y="51"/>
                    <a:pt x="114" y="54"/>
                    <a:pt x="110" y="5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676">
              <a:extLst>
                <a:ext uri="{FF2B5EF4-FFF2-40B4-BE49-F238E27FC236}">
                  <a16:creationId xmlns:a16="http://schemas.microsoft.com/office/drawing/2014/main" id="{B64D33A9-5781-E2FE-CEE0-6C0BEE9E13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4708" y="3858625"/>
              <a:ext cx="520853" cy="218198"/>
            </a:xfrm>
            <a:custGeom>
              <a:avLst/>
              <a:gdLst>
                <a:gd name="T0" fmla="*/ 123 w 130"/>
                <a:gd name="T1" fmla="*/ 54 h 54"/>
                <a:gd name="T2" fmla="*/ 28 w 130"/>
                <a:gd name="T3" fmla="*/ 54 h 54"/>
                <a:gd name="T4" fmla="*/ 21 w 130"/>
                <a:gd name="T5" fmla="*/ 47 h 54"/>
                <a:gd name="T6" fmla="*/ 28 w 130"/>
                <a:gd name="T7" fmla="*/ 40 h 54"/>
                <a:gd name="T8" fmla="*/ 116 w 130"/>
                <a:gd name="T9" fmla="*/ 40 h 54"/>
                <a:gd name="T10" fmla="*/ 116 w 130"/>
                <a:gd name="T11" fmla="*/ 14 h 54"/>
                <a:gd name="T12" fmla="*/ 15 w 130"/>
                <a:gd name="T13" fmla="*/ 14 h 54"/>
                <a:gd name="T14" fmla="*/ 15 w 130"/>
                <a:gd name="T15" fmla="*/ 31 h 54"/>
                <a:gd name="T16" fmla="*/ 7 w 130"/>
                <a:gd name="T17" fmla="*/ 39 h 54"/>
                <a:gd name="T18" fmla="*/ 0 w 130"/>
                <a:gd name="T19" fmla="*/ 31 h 54"/>
                <a:gd name="T20" fmla="*/ 0 w 130"/>
                <a:gd name="T21" fmla="*/ 7 h 54"/>
                <a:gd name="T22" fmla="*/ 7 w 130"/>
                <a:gd name="T23" fmla="*/ 0 h 54"/>
                <a:gd name="T24" fmla="*/ 123 w 130"/>
                <a:gd name="T25" fmla="*/ 0 h 54"/>
                <a:gd name="T26" fmla="*/ 130 w 130"/>
                <a:gd name="T27" fmla="*/ 7 h 54"/>
                <a:gd name="T28" fmla="*/ 130 w 130"/>
                <a:gd name="T29" fmla="*/ 47 h 54"/>
                <a:gd name="T30" fmla="*/ 123 w 130"/>
                <a:gd name="T3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" h="54">
                  <a:moveTo>
                    <a:pt x="123" y="54"/>
                  </a:moveTo>
                  <a:lnTo>
                    <a:pt x="28" y="54"/>
                  </a:lnTo>
                  <a:cubicBezTo>
                    <a:pt x="24" y="54"/>
                    <a:pt x="21" y="51"/>
                    <a:pt x="21" y="47"/>
                  </a:cubicBezTo>
                  <a:cubicBezTo>
                    <a:pt x="21" y="43"/>
                    <a:pt x="24" y="40"/>
                    <a:pt x="28" y="40"/>
                  </a:cubicBezTo>
                  <a:lnTo>
                    <a:pt x="116" y="40"/>
                  </a:lnTo>
                  <a:lnTo>
                    <a:pt x="116" y="14"/>
                  </a:lnTo>
                  <a:lnTo>
                    <a:pt x="15" y="14"/>
                  </a:lnTo>
                  <a:lnTo>
                    <a:pt x="15" y="31"/>
                  </a:lnTo>
                  <a:cubicBezTo>
                    <a:pt x="15" y="35"/>
                    <a:pt x="11" y="39"/>
                    <a:pt x="7" y="39"/>
                  </a:cubicBezTo>
                  <a:cubicBezTo>
                    <a:pt x="3" y="39"/>
                    <a:pt x="0" y="35"/>
                    <a:pt x="0" y="31"/>
                  </a:cubicBezTo>
                  <a:lnTo>
                    <a:pt x="0" y="7"/>
                  </a:lnTo>
                  <a:cubicBezTo>
                    <a:pt x="0" y="3"/>
                    <a:pt x="3" y="0"/>
                    <a:pt x="7" y="0"/>
                  </a:cubicBezTo>
                  <a:lnTo>
                    <a:pt x="123" y="0"/>
                  </a:lnTo>
                  <a:cubicBezTo>
                    <a:pt x="127" y="0"/>
                    <a:pt x="130" y="3"/>
                    <a:pt x="130" y="7"/>
                  </a:cubicBezTo>
                  <a:lnTo>
                    <a:pt x="130" y="47"/>
                  </a:lnTo>
                  <a:cubicBezTo>
                    <a:pt x="130" y="51"/>
                    <a:pt x="127" y="54"/>
                    <a:pt x="123" y="5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677">
              <a:extLst>
                <a:ext uri="{FF2B5EF4-FFF2-40B4-BE49-F238E27FC236}">
                  <a16:creationId xmlns:a16="http://schemas.microsoft.com/office/drawing/2014/main" id="{2F581546-3231-BF6B-EE7E-6193101F7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02394" y="3929011"/>
              <a:ext cx="640511" cy="633472"/>
            </a:xfrm>
            <a:custGeom>
              <a:avLst/>
              <a:gdLst>
                <a:gd name="T0" fmla="*/ 79 w 157"/>
                <a:gd name="T1" fmla="*/ 14 h 157"/>
                <a:gd name="T2" fmla="*/ 14 w 157"/>
                <a:gd name="T3" fmla="*/ 78 h 157"/>
                <a:gd name="T4" fmla="*/ 79 w 157"/>
                <a:gd name="T5" fmla="*/ 143 h 157"/>
                <a:gd name="T6" fmla="*/ 143 w 157"/>
                <a:gd name="T7" fmla="*/ 78 h 157"/>
                <a:gd name="T8" fmla="*/ 79 w 157"/>
                <a:gd name="T9" fmla="*/ 14 h 157"/>
                <a:gd name="T10" fmla="*/ 79 w 157"/>
                <a:gd name="T11" fmla="*/ 157 h 157"/>
                <a:gd name="T12" fmla="*/ 0 w 157"/>
                <a:gd name="T13" fmla="*/ 78 h 157"/>
                <a:gd name="T14" fmla="*/ 79 w 157"/>
                <a:gd name="T15" fmla="*/ 0 h 157"/>
                <a:gd name="T16" fmla="*/ 157 w 157"/>
                <a:gd name="T17" fmla="*/ 78 h 157"/>
                <a:gd name="T18" fmla="*/ 79 w 157"/>
                <a:gd name="T19" fmla="*/ 157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7">
                  <a:moveTo>
                    <a:pt x="79" y="14"/>
                  </a:moveTo>
                  <a:cubicBezTo>
                    <a:pt x="43" y="14"/>
                    <a:pt x="14" y="43"/>
                    <a:pt x="14" y="78"/>
                  </a:cubicBezTo>
                  <a:cubicBezTo>
                    <a:pt x="14" y="114"/>
                    <a:pt x="43" y="143"/>
                    <a:pt x="79" y="143"/>
                  </a:cubicBezTo>
                  <a:cubicBezTo>
                    <a:pt x="114" y="143"/>
                    <a:pt x="143" y="114"/>
                    <a:pt x="143" y="78"/>
                  </a:cubicBezTo>
                  <a:cubicBezTo>
                    <a:pt x="143" y="43"/>
                    <a:pt x="114" y="14"/>
                    <a:pt x="79" y="14"/>
                  </a:cubicBezTo>
                  <a:close/>
                  <a:moveTo>
                    <a:pt x="79" y="157"/>
                  </a:moveTo>
                  <a:cubicBezTo>
                    <a:pt x="35" y="157"/>
                    <a:pt x="0" y="122"/>
                    <a:pt x="0" y="78"/>
                  </a:cubicBezTo>
                  <a:cubicBezTo>
                    <a:pt x="0" y="35"/>
                    <a:pt x="35" y="0"/>
                    <a:pt x="79" y="0"/>
                  </a:cubicBezTo>
                  <a:cubicBezTo>
                    <a:pt x="122" y="0"/>
                    <a:pt x="157" y="35"/>
                    <a:pt x="157" y="78"/>
                  </a:cubicBezTo>
                  <a:cubicBezTo>
                    <a:pt x="157" y="122"/>
                    <a:pt x="122" y="157"/>
                    <a:pt x="79" y="15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3" name="Smart_retai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E760912-817B-7738-F94D-C09583F3C58F}"/>
              </a:ext>
            </a:extLst>
          </p:cNvPr>
          <p:cNvGrpSpPr>
            <a:grpSpLocks noChangeAspect="1"/>
          </p:cNvGrpSpPr>
          <p:nvPr/>
        </p:nvGrpSpPr>
        <p:grpSpPr>
          <a:xfrm>
            <a:off x="9165387" y="2979387"/>
            <a:ext cx="1481412" cy="1484922"/>
            <a:chOff x="5237163" y="2530475"/>
            <a:chExt cx="669925" cy="671513"/>
          </a:xfrm>
          <a:solidFill>
            <a:schemeClr val="accent1"/>
          </a:solidFill>
        </p:grpSpPr>
        <p:sp>
          <p:nvSpPr>
            <p:cNvPr id="44" name="Freeform 1025">
              <a:extLst>
                <a:ext uri="{FF2B5EF4-FFF2-40B4-BE49-F238E27FC236}">
                  <a16:creationId xmlns:a16="http://schemas.microsoft.com/office/drawing/2014/main" id="{CDA3FCE0-7F0E-71F2-13BC-B282C3B4A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7513" y="2568575"/>
              <a:ext cx="100013" cy="12700"/>
            </a:xfrm>
            <a:custGeom>
              <a:avLst/>
              <a:gdLst>
                <a:gd name="T0" fmla="*/ 134 w 134"/>
                <a:gd name="T1" fmla="*/ 8 h 17"/>
                <a:gd name="T2" fmla="*/ 125 w 134"/>
                <a:gd name="T3" fmla="*/ 17 h 17"/>
                <a:gd name="T4" fmla="*/ 9 w 134"/>
                <a:gd name="T5" fmla="*/ 17 h 17"/>
                <a:gd name="T6" fmla="*/ 0 w 134"/>
                <a:gd name="T7" fmla="*/ 8 h 17"/>
                <a:gd name="T8" fmla="*/ 0 w 134"/>
                <a:gd name="T9" fmla="*/ 8 h 17"/>
                <a:gd name="T10" fmla="*/ 9 w 134"/>
                <a:gd name="T11" fmla="*/ 0 h 17"/>
                <a:gd name="T12" fmla="*/ 125 w 134"/>
                <a:gd name="T13" fmla="*/ 0 h 17"/>
                <a:gd name="T14" fmla="*/ 134 w 134"/>
                <a:gd name="T15" fmla="*/ 8 h 17"/>
                <a:gd name="T16" fmla="*/ 134 w 134"/>
                <a:gd name="T17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17">
                  <a:moveTo>
                    <a:pt x="134" y="8"/>
                  </a:moveTo>
                  <a:cubicBezTo>
                    <a:pt x="134" y="13"/>
                    <a:pt x="130" y="17"/>
                    <a:pt x="125" y="17"/>
                  </a:cubicBezTo>
                  <a:lnTo>
                    <a:pt x="9" y="17"/>
                  </a:lnTo>
                  <a:cubicBezTo>
                    <a:pt x="4" y="17"/>
                    <a:pt x="0" y="13"/>
                    <a:pt x="0" y="8"/>
                  </a:cubicBezTo>
                  <a:lnTo>
                    <a:pt x="0" y="8"/>
                  </a:lnTo>
                  <a:cubicBezTo>
                    <a:pt x="0" y="4"/>
                    <a:pt x="4" y="0"/>
                    <a:pt x="9" y="0"/>
                  </a:cubicBezTo>
                  <a:lnTo>
                    <a:pt x="125" y="0"/>
                  </a:lnTo>
                  <a:cubicBezTo>
                    <a:pt x="130" y="0"/>
                    <a:pt x="134" y="4"/>
                    <a:pt x="134" y="8"/>
                  </a:cubicBezTo>
                  <a:lnTo>
                    <a:pt x="134" y="8"/>
                  </a:ln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026">
              <a:extLst>
                <a:ext uri="{FF2B5EF4-FFF2-40B4-BE49-F238E27FC236}">
                  <a16:creationId xmlns:a16="http://schemas.microsoft.com/office/drawing/2014/main" id="{2E0AA9B6-575D-1470-FC43-A03CBED21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2655888"/>
              <a:ext cx="234950" cy="260350"/>
            </a:xfrm>
            <a:custGeom>
              <a:avLst/>
              <a:gdLst>
                <a:gd name="T0" fmla="*/ 283 w 316"/>
                <a:gd name="T1" fmla="*/ 0 h 350"/>
                <a:gd name="T2" fmla="*/ 0 w 316"/>
                <a:gd name="T3" fmla="*/ 0 h 350"/>
                <a:gd name="T4" fmla="*/ 0 w 316"/>
                <a:gd name="T5" fmla="*/ 16 h 350"/>
                <a:gd name="T6" fmla="*/ 283 w 316"/>
                <a:gd name="T7" fmla="*/ 16 h 350"/>
                <a:gd name="T8" fmla="*/ 300 w 316"/>
                <a:gd name="T9" fmla="*/ 33 h 350"/>
                <a:gd name="T10" fmla="*/ 300 w 316"/>
                <a:gd name="T11" fmla="*/ 316 h 350"/>
                <a:gd name="T12" fmla="*/ 283 w 316"/>
                <a:gd name="T13" fmla="*/ 333 h 350"/>
                <a:gd name="T14" fmla="*/ 0 w 316"/>
                <a:gd name="T15" fmla="*/ 333 h 350"/>
                <a:gd name="T16" fmla="*/ 0 w 316"/>
                <a:gd name="T17" fmla="*/ 350 h 350"/>
                <a:gd name="T18" fmla="*/ 283 w 316"/>
                <a:gd name="T19" fmla="*/ 350 h 350"/>
                <a:gd name="T20" fmla="*/ 316 w 316"/>
                <a:gd name="T21" fmla="*/ 316 h 350"/>
                <a:gd name="T22" fmla="*/ 316 w 316"/>
                <a:gd name="T23" fmla="*/ 33 h 350"/>
                <a:gd name="T24" fmla="*/ 283 w 316"/>
                <a:gd name="T25" fmla="*/ 0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16" h="350">
                  <a:moveTo>
                    <a:pt x="283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283" y="16"/>
                  </a:lnTo>
                  <a:cubicBezTo>
                    <a:pt x="292" y="16"/>
                    <a:pt x="300" y="24"/>
                    <a:pt x="300" y="33"/>
                  </a:cubicBezTo>
                  <a:lnTo>
                    <a:pt x="300" y="316"/>
                  </a:lnTo>
                  <a:cubicBezTo>
                    <a:pt x="300" y="326"/>
                    <a:pt x="292" y="333"/>
                    <a:pt x="283" y="333"/>
                  </a:cubicBezTo>
                  <a:lnTo>
                    <a:pt x="0" y="333"/>
                  </a:lnTo>
                  <a:lnTo>
                    <a:pt x="0" y="350"/>
                  </a:lnTo>
                  <a:lnTo>
                    <a:pt x="283" y="350"/>
                  </a:lnTo>
                  <a:cubicBezTo>
                    <a:pt x="301" y="350"/>
                    <a:pt x="316" y="335"/>
                    <a:pt x="316" y="316"/>
                  </a:cubicBezTo>
                  <a:lnTo>
                    <a:pt x="316" y="33"/>
                  </a:lnTo>
                  <a:cubicBezTo>
                    <a:pt x="316" y="15"/>
                    <a:pt x="301" y="0"/>
                    <a:pt x="28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027">
              <a:extLst>
                <a:ext uri="{FF2B5EF4-FFF2-40B4-BE49-F238E27FC236}">
                  <a16:creationId xmlns:a16="http://schemas.microsoft.com/office/drawing/2014/main" id="{166A5B72-2653-24C4-AB3F-173972F34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2138" y="2705100"/>
              <a:ext cx="234950" cy="61913"/>
            </a:xfrm>
            <a:custGeom>
              <a:avLst/>
              <a:gdLst>
                <a:gd name="T0" fmla="*/ 0 w 148"/>
                <a:gd name="T1" fmla="*/ 0 h 39"/>
                <a:gd name="T2" fmla="*/ 0 w 148"/>
                <a:gd name="T3" fmla="*/ 8 h 39"/>
                <a:gd name="T4" fmla="*/ 140 w 148"/>
                <a:gd name="T5" fmla="*/ 8 h 39"/>
                <a:gd name="T6" fmla="*/ 140 w 148"/>
                <a:gd name="T7" fmla="*/ 31 h 39"/>
                <a:gd name="T8" fmla="*/ 0 w 148"/>
                <a:gd name="T9" fmla="*/ 31 h 39"/>
                <a:gd name="T10" fmla="*/ 0 w 148"/>
                <a:gd name="T11" fmla="*/ 39 h 39"/>
                <a:gd name="T12" fmla="*/ 148 w 148"/>
                <a:gd name="T13" fmla="*/ 39 h 39"/>
                <a:gd name="T14" fmla="*/ 148 w 148"/>
                <a:gd name="T15" fmla="*/ 0 h 39"/>
                <a:gd name="T16" fmla="*/ 0 w 148"/>
                <a:gd name="T17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8" h="39">
                  <a:moveTo>
                    <a:pt x="0" y="0"/>
                  </a:moveTo>
                  <a:lnTo>
                    <a:pt x="0" y="8"/>
                  </a:lnTo>
                  <a:lnTo>
                    <a:pt x="140" y="8"/>
                  </a:lnTo>
                  <a:lnTo>
                    <a:pt x="140" y="31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148" y="39"/>
                  </a:lnTo>
                  <a:lnTo>
                    <a:pt x="14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1028">
              <a:extLst>
                <a:ext uri="{FF2B5EF4-FFF2-40B4-BE49-F238E27FC236}">
                  <a16:creationId xmlns:a16="http://schemas.microsoft.com/office/drawing/2014/main" id="{0C5745C0-A700-5419-8841-CE45BA0342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37163" y="2730500"/>
              <a:ext cx="344488" cy="296863"/>
            </a:xfrm>
            <a:custGeom>
              <a:avLst/>
              <a:gdLst>
                <a:gd name="T0" fmla="*/ 20 w 464"/>
                <a:gd name="T1" fmla="*/ 134 h 400"/>
                <a:gd name="T2" fmla="*/ 85 w 464"/>
                <a:gd name="T3" fmla="*/ 133 h 400"/>
                <a:gd name="T4" fmla="*/ 35 w 464"/>
                <a:gd name="T5" fmla="*/ 183 h 400"/>
                <a:gd name="T6" fmla="*/ 20 w 464"/>
                <a:gd name="T7" fmla="*/ 139 h 400"/>
                <a:gd name="T8" fmla="*/ 85 w 464"/>
                <a:gd name="T9" fmla="*/ 200 h 400"/>
                <a:gd name="T10" fmla="*/ 49 w 464"/>
                <a:gd name="T11" fmla="*/ 250 h 400"/>
                <a:gd name="T12" fmla="*/ 53 w 464"/>
                <a:gd name="T13" fmla="*/ 266 h 400"/>
                <a:gd name="T14" fmla="*/ 85 w 464"/>
                <a:gd name="T15" fmla="*/ 301 h 400"/>
                <a:gd name="T16" fmla="*/ 60 w 464"/>
                <a:gd name="T17" fmla="*/ 290 h 400"/>
                <a:gd name="T18" fmla="*/ 301 w 464"/>
                <a:gd name="T19" fmla="*/ 314 h 400"/>
                <a:gd name="T20" fmla="*/ 327 w 464"/>
                <a:gd name="T21" fmla="*/ 266 h 400"/>
                <a:gd name="T22" fmla="*/ 308 w 464"/>
                <a:gd name="T23" fmla="*/ 314 h 400"/>
                <a:gd name="T24" fmla="*/ 355 w 464"/>
                <a:gd name="T25" fmla="*/ 133 h 400"/>
                <a:gd name="T26" fmla="*/ 301 w 464"/>
                <a:gd name="T27" fmla="*/ 183 h 400"/>
                <a:gd name="T28" fmla="*/ 355 w 464"/>
                <a:gd name="T29" fmla="*/ 133 h 400"/>
                <a:gd name="T30" fmla="*/ 285 w 464"/>
                <a:gd name="T31" fmla="*/ 183 h 400"/>
                <a:gd name="T32" fmla="*/ 235 w 464"/>
                <a:gd name="T33" fmla="*/ 133 h 400"/>
                <a:gd name="T34" fmla="*/ 218 w 464"/>
                <a:gd name="T35" fmla="*/ 183 h 400"/>
                <a:gd name="T36" fmla="*/ 168 w 464"/>
                <a:gd name="T37" fmla="*/ 133 h 400"/>
                <a:gd name="T38" fmla="*/ 218 w 464"/>
                <a:gd name="T39" fmla="*/ 183 h 400"/>
                <a:gd name="T40" fmla="*/ 101 w 464"/>
                <a:gd name="T41" fmla="*/ 200 h 400"/>
                <a:gd name="T42" fmla="*/ 151 w 464"/>
                <a:gd name="T43" fmla="*/ 250 h 400"/>
                <a:gd name="T44" fmla="*/ 151 w 464"/>
                <a:gd name="T45" fmla="*/ 305 h 400"/>
                <a:gd name="T46" fmla="*/ 101 w 464"/>
                <a:gd name="T47" fmla="*/ 266 h 400"/>
                <a:gd name="T48" fmla="*/ 151 w 464"/>
                <a:gd name="T49" fmla="*/ 305 h 400"/>
                <a:gd name="T50" fmla="*/ 168 w 464"/>
                <a:gd name="T51" fmla="*/ 306 h 400"/>
                <a:gd name="T52" fmla="*/ 218 w 464"/>
                <a:gd name="T53" fmla="*/ 266 h 400"/>
                <a:gd name="T54" fmla="*/ 285 w 464"/>
                <a:gd name="T55" fmla="*/ 266 h 400"/>
                <a:gd name="T56" fmla="*/ 235 w 464"/>
                <a:gd name="T57" fmla="*/ 310 h 400"/>
                <a:gd name="T58" fmla="*/ 285 w 464"/>
                <a:gd name="T59" fmla="*/ 266 h 400"/>
                <a:gd name="T60" fmla="*/ 285 w 464"/>
                <a:gd name="T61" fmla="*/ 200 h 400"/>
                <a:gd name="T62" fmla="*/ 235 w 464"/>
                <a:gd name="T63" fmla="*/ 250 h 400"/>
                <a:gd name="T64" fmla="*/ 218 w 464"/>
                <a:gd name="T65" fmla="*/ 250 h 400"/>
                <a:gd name="T66" fmla="*/ 168 w 464"/>
                <a:gd name="T67" fmla="*/ 200 h 400"/>
                <a:gd name="T68" fmla="*/ 218 w 464"/>
                <a:gd name="T69" fmla="*/ 250 h 400"/>
                <a:gd name="T70" fmla="*/ 301 w 464"/>
                <a:gd name="T71" fmla="*/ 250 h 400"/>
                <a:gd name="T72" fmla="*/ 341 w 464"/>
                <a:gd name="T73" fmla="*/ 200 h 400"/>
                <a:gd name="T74" fmla="*/ 151 w 464"/>
                <a:gd name="T75" fmla="*/ 183 h 400"/>
                <a:gd name="T76" fmla="*/ 101 w 464"/>
                <a:gd name="T77" fmla="*/ 133 h 400"/>
                <a:gd name="T78" fmla="*/ 151 w 464"/>
                <a:gd name="T79" fmla="*/ 183 h 400"/>
                <a:gd name="T80" fmla="*/ 43 w 464"/>
                <a:gd name="T81" fmla="*/ 294 h 400"/>
                <a:gd name="T82" fmla="*/ 305 w 464"/>
                <a:gd name="T83" fmla="*/ 331 h 400"/>
                <a:gd name="T84" fmla="*/ 306 w 464"/>
                <a:gd name="T85" fmla="*/ 383 h 400"/>
                <a:gd name="T86" fmla="*/ 56 w 464"/>
                <a:gd name="T87" fmla="*/ 391 h 400"/>
                <a:gd name="T88" fmla="*/ 114 w 464"/>
                <a:gd name="T89" fmla="*/ 400 h 400"/>
                <a:gd name="T90" fmla="*/ 306 w 464"/>
                <a:gd name="T91" fmla="*/ 400 h 400"/>
                <a:gd name="T92" fmla="*/ 331 w 464"/>
                <a:gd name="T93" fmla="*/ 325 h 400"/>
                <a:gd name="T94" fmla="*/ 431 w 464"/>
                <a:gd name="T95" fmla="*/ 16 h 400"/>
                <a:gd name="T96" fmla="*/ 464 w 464"/>
                <a:gd name="T97" fmla="*/ 16 h 400"/>
                <a:gd name="T98" fmla="*/ 448 w 464"/>
                <a:gd name="T99" fmla="*/ 0 h 400"/>
                <a:gd name="T100" fmla="*/ 359 w 464"/>
                <a:gd name="T101" fmla="*/ 116 h 400"/>
                <a:gd name="T102" fmla="*/ 5 w 464"/>
                <a:gd name="T103" fmla="*/ 12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64" h="400">
                  <a:moveTo>
                    <a:pt x="20" y="139"/>
                  </a:moveTo>
                  <a:cubicBezTo>
                    <a:pt x="20" y="137"/>
                    <a:pt x="19" y="135"/>
                    <a:pt x="20" y="134"/>
                  </a:cubicBezTo>
                  <a:cubicBezTo>
                    <a:pt x="20" y="134"/>
                    <a:pt x="21" y="133"/>
                    <a:pt x="23" y="133"/>
                  </a:cubicBezTo>
                  <a:lnTo>
                    <a:pt x="85" y="133"/>
                  </a:lnTo>
                  <a:lnTo>
                    <a:pt x="85" y="183"/>
                  </a:lnTo>
                  <a:lnTo>
                    <a:pt x="35" y="183"/>
                  </a:lnTo>
                  <a:lnTo>
                    <a:pt x="35" y="185"/>
                  </a:lnTo>
                  <a:lnTo>
                    <a:pt x="20" y="139"/>
                  </a:lnTo>
                  <a:close/>
                  <a:moveTo>
                    <a:pt x="35" y="200"/>
                  </a:moveTo>
                  <a:lnTo>
                    <a:pt x="85" y="200"/>
                  </a:lnTo>
                  <a:lnTo>
                    <a:pt x="85" y="250"/>
                  </a:lnTo>
                  <a:lnTo>
                    <a:pt x="49" y="250"/>
                  </a:lnTo>
                  <a:lnTo>
                    <a:pt x="35" y="200"/>
                  </a:lnTo>
                  <a:close/>
                  <a:moveTo>
                    <a:pt x="53" y="266"/>
                  </a:moveTo>
                  <a:lnTo>
                    <a:pt x="85" y="266"/>
                  </a:lnTo>
                  <a:lnTo>
                    <a:pt x="85" y="301"/>
                  </a:lnTo>
                  <a:lnTo>
                    <a:pt x="75" y="301"/>
                  </a:lnTo>
                  <a:cubicBezTo>
                    <a:pt x="69" y="300"/>
                    <a:pt x="62" y="295"/>
                    <a:pt x="60" y="290"/>
                  </a:cubicBezTo>
                  <a:lnTo>
                    <a:pt x="53" y="266"/>
                  </a:lnTo>
                  <a:close/>
                  <a:moveTo>
                    <a:pt x="301" y="314"/>
                  </a:moveTo>
                  <a:lnTo>
                    <a:pt x="301" y="266"/>
                  </a:lnTo>
                  <a:lnTo>
                    <a:pt x="327" y="266"/>
                  </a:lnTo>
                  <a:lnTo>
                    <a:pt x="316" y="316"/>
                  </a:lnTo>
                  <a:cubicBezTo>
                    <a:pt x="313" y="315"/>
                    <a:pt x="312" y="315"/>
                    <a:pt x="308" y="314"/>
                  </a:cubicBezTo>
                  <a:lnTo>
                    <a:pt x="301" y="314"/>
                  </a:lnTo>
                  <a:close/>
                  <a:moveTo>
                    <a:pt x="355" y="133"/>
                  </a:moveTo>
                  <a:lnTo>
                    <a:pt x="345" y="183"/>
                  </a:lnTo>
                  <a:lnTo>
                    <a:pt x="301" y="183"/>
                  </a:lnTo>
                  <a:lnTo>
                    <a:pt x="301" y="133"/>
                  </a:lnTo>
                  <a:lnTo>
                    <a:pt x="355" y="133"/>
                  </a:lnTo>
                  <a:close/>
                  <a:moveTo>
                    <a:pt x="285" y="133"/>
                  </a:moveTo>
                  <a:lnTo>
                    <a:pt x="285" y="183"/>
                  </a:lnTo>
                  <a:lnTo>
                    <a:pt x="235" y="183"/>
                  </a:lnTo>
                  <a:lnTo>
                    <a:pt x="235" y="133"/>
                  </a:lnTo>
                  <a:lnTo>
                    <a:pt x="285" y="133"/>
                  </a:lnTo>
                  <a:close/>
                  <a:moveTo>
                    <a:pt x="218" y="183"/>
                  </a:moveTo>
                  <a:lnTo>
                    <a:pt x="168" y="183"/>
                  </a:lnTo>
                  <a:lnTo>
                    <a:pt x="168" y="133"/>
                  </a:lnTo>
                  <a:lnTo>
                    <a:pt x="218" y="133"/>
                  </a:lnTo>
                  <a:lnTo>
                    <a:pt x="218" y="183"/>
                  </a:lnTo>
                  <a:close/>
                  <a:moveTo>
                    <a:pt x="101" y="250"/>
                  </a:moveTo>
                  <a:lnTo>
                    <a:pt x="101" y="200"/>
                  </a:lnTo>
                  <a:lnTo>
                    <a:pt x="151" y="200"/>
                  </a:lnTo>
                  <a:lnTo>
                    <a:pt x="151" y="250"/>
                  </a:lnTo>
                  <a:lnTo>
                    <a:pt x="101" y="250"/>
                  </a:lnTo>
                  <a:close/>
                  <a:moveTo>
                    <a:pt x="151" y="305"/>
                  </a:moveTo>
                  <a:lnTo>
                    <a:pt x="101" y="302"/>
                  </a:lnTo>
                  <a:lnTo>
                    <a:pt x="101" y="266"/>
                  </a:lnTo>
                  <a:lnTo>
                    <a:pt x="151" y="266"/>
                  </a:lnTo>
                  <a:lnTo>
                    <a:pt x="151" y="305"/>
                  </a:lnTo>
                  <a:close/>
                  <a:moveTo>
                    <a:pt x="218" y="309"/>
                  </a:moveTo>
                  <a:lnTo>
                    <a:pt x="168" y="306"/>
                  </a:lnTo>
                  <a:lnTo>
                    <a:pt x="168" y="266"/>
                  </a:lnTo>
                  <a:lnTo>
                    <a:pt x="218" y="266"/>
                  </a:lnTo>
                  <a:lnTo>
                    <a:pt x="218" y="309"/>
                  </a:lnTo>
                  <a:close/>
                  <a:moveTo>
                    <a:pt x="285" y="266"/>
                  </a:moveTo>
                  <a:lnTo>
                    <a:pt x="285" y="313"/>
                  </a:lnTo>
                  <a:lnTo>
                    <a:pt x="235" y="310"/>
                  </a:lnTo>
                  <a:lnTo>
                    <a:pt x="235" y="266"/>
                  </a:lnTo>
                  <a:lnTo>
                    <a:pt x="285" y="266"/>
                  </a:lnTo>
                  <a:close/>
                  <a:moveTo>
                    <a:pt x="235" y="200"/>
                  </a:moveTo>
                  <a:lnTo>
                    <a:pt x="285" y="200"/>
                  </a:lnTo>
                  <a:lnTo>
                    <a:pt x="285" y="250"/>
                  </a:lnTo>
                  <a:lnTo>
                    <a:pt x="235" y="250"/>
                  </a:lnTo>
                  <a:lnTo>
                    <a:pt x="235" y="200"/>
                  </a:lnTo>
                  <a:close/>
                  <a:moveTo>
                    <a:pt x="218" y="250"/>
                  </a:moveTo>
                  <a:lnTo>
                    <a:pt x="168" y="250"/>
                  </a:lnTo>
                  <a:lnTo>
                    <a:pt x="168" y="200"/>
                  </a:lnTo>
                  <a:lnTo>
                    <a:pt x="218" y="200"/>
                  </a:lnTo>
                  <a:lnTo>
                    <a:pt x="218" y="250"/>
                  </a:lnTo>
                  <a:close/>
                  <a:moveTo>
                    <a:pt x="330" y="250"/>
                  </a:moveTo>
                  <a:lnTo>
                    <a:pt x="301" y="250"/>
                  </a:lnTo>
                  <a:lnTo>
                    <a:pt x="301" y="200"/>
                  </a:lnTo>
                  <a:lnTo>
                    <a:pt x="341" y="200"/>
                  </a:lnTo>
                  <a:lnTo>
                    <a:pt x="330" y="250"/>
                  </a:lnTo>
                  <a:close/>
                  <a:moveTo>
                    <a:pt x="151" y="183"/>
                  </a:moveTo>
                  <a:lnTo>
                    <a:pt x="101" y="183"/>
                  </a:lnTo>
                  <a:lnTo>
                    <a:pt x="101" y="133"/>
                  </a:lnTo>
                  <a:lnTo>
                    <a:pt x="151" y="133"/>
                  </a:lnTo>
                  <a:lnTo>
                    <a:pt x="151" y="183"/>
                  </a:lnTo>
                  <a:close/>
                  <a:moveTo>
                    <a:pt x="2" y="143"/>
                  </a:moveTo>
                  <a:lnTo>
                    <a:pt x="43" y="294"/>
                  </a:lnTo>
                  <a:cubicBezTo>
                    <a:pt x="47" y="306"/>
                    <a:pt x="59" y="317"/>
                    <a:pt x="72" y="317"/>
                  </a:cubicBezTo>
                  <a:lnTo>
                    <a:pt x="305" y="331"/>
                  </a:lnTo>
                  <a:cubicBezTo>
                    <a:pt x="319" y="332"/>
                    <a:pt x="331" y="344"/>
                    <a:pt x="331" y="358"/>
                  </a:cubicBezTo>
                  <a:cubicBezTo>
                    <a:pt x="331" y="372"/>
                    <a:pt x="320" y="383"/>
                    <a:pt x="306" y="383"/>
                  </a:cubicBezTo>
                  <a:lnTo>
                    <a:pt x="64" y="383"/>
                  </a:lnTo>
                  <a:cubicBezTo>
                    <a:pt x="60" y="383"/>
                    <a:pt x="56" y="387"/>
                    <a:pt x="56" y="391"/>
                  </a:cubicBezTo>
                  <a:cubicBezTo>
                    <a:pt x="56" y="396"/>
                    <a:pt x="60" y="400"/>
                    <a:pt x="64" y="400"/>
                  </a:cubicBezTo>
                  <a:lnTo>
                    <a:pt x="114" y="400"/>
                  </a:lnTo>
                  <a:lnTo>
                    <a:pt x="281" y="400"/>
                  </a:lnTo>
                  <a:lnTo>
                    <a:pt x="306" y="400"/>
                  </a:lnTo>
                  <a:cubicBezTo>
                    <a:pt x="329" y="400"/>
                    <a:pt x="348" y="381"/>
                    <a:pt x="348" y="358"/>
                  </a:cubicBezTo>
                  <a:cubicBezTo>
                    <a:pt x="348" y="345"/>
                    <a:pt x="341" y="333"/>
                    <a:pt x="331" y="325"/>
                  </a:cubicBezTo>
                  <a:lnTo>
                    <a:pt x="397" y="16"/>
                  </a:lnTo>
                  <a:lnTo>
                    <a:pt x="431" y="16"/>
                  </a:lnTo>
                  <a:cubicBezTo>
                    <a:pt x="431" y="26"/>
                    <a:pt x="438" y="33"/>
                    <a:pt x="448" y="33"/>
                  </a:cubicBezTo>
                  <a:cubicBezTo>
                    <a:pt x="457" y="33"/>
                    <a:pt x="464" y="26"/>
                    <a:pt x="464" y="16"/>
                  </a:cubicBezTo>
                  <a:cubicBezTo>
                    <a:pt x="464" y="8"/>
                    <a:pt x="458" y="2"/>
                    <a:pt x="451" y="0"/>
                  </a:cubicBezTo>
                  <a:cubicBezTo>
                    <a:pt x="450" y="0"/>
                    <a:pt x="449" y="0"/>
                    <a:pt x="448" y="0"/>
                  </a:cubicBezTo>
                  <a:lnTo>
                    <a:pt x="384" y="0"/>
                  </a:lnTo>
                  <a:lnTo>
                    <a:pt x="359" y="116"/>
                  </a:lnTo>
                  <a:lnTo>
                    <a:pt x="23" y="116"/>
                  </a:lnTo>
                  <a:cubicBezTo>
                    <a:pt x="15" y="116"/>
                    <a:pt x="9" y="119"/>
                    <a:pt x="5" y="124"/>
                  </a:cubicBezTo>
                  <a:cubicBezTo>
                    <a:pt x="1" y="129"/>
                    <a:pt x="0" y="136"/>
                    <a:pt x="2" y="14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1029">
              <a:extLst>
                <a:ext uri="{FF2B5EF4-FFF2-40B4-BE49-F238E27FC236}">
                  <a16:creationId xmlns:a16="http://schemas.microsoft.com/office/drawing/2014/main" id="{BED76420-82BD-6DF5-B5E5-140775C2A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1313" y="3027363"/>
              <a:ext cx="49213" cy="49213"/>
            </a:xfrm>
            <a:custGeom>
              <a:avLst/>
              <a:gdLst>
                <a:gd name="T0" fmla="*/ 50 w 66"/>
                <a:gd name="T1" fmla="*/ 33 h 66"/>
                <a:gd name="T2" fmla="*/ 33 w 66"/>
                <a:gd name="T3" fmla="*/ 50 h 66"/>
                <a:gd name="T4" fmla="*/ 16 w 66"/>
                <a:gd name="T5" fmla="*/ 33 h 66"/>
                <a:gd name="T6" fmla="*/ 33 w 66"/>
                <a:gd name="T7" fmla="*/ 16 h 66"/>
                <a:gd name="T8" fmla="*/ 50 w 66"/>
                <a:gd name="T9" fmla="*/ 33 h 66"/>
                <a:gd name="T10" fmla="*/ 33 w 66"/>
                <a:gd name="T11" fmla="*/ 0 h 66"/>
                <a:gd name="T12" fmla="*/ 0 w 66"/>
                <a:gd name="T13" fmla="*/ 33 h 66"/>
                <a:gd name="T14" fmla="*/ 33 w 66"/>
                <a:gd name="T15" fmla="*/ 66 h 66"/>
                <a:gd name="T16" fmla="*/ 66 w 66"/>
                <a:gd name="T17" fmla="*/ 33 h 66"/>
                <a:gd name="T18" fmla="*/ 33 w 66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6" h="66">
                  <a:moveTo>
                    <a:pt x="50" y="33"/>
                  </a:moveTo>
                  <a:cubicBezTo>
                    <a:pt x="50" y="42"/>
                    <a:pt x="42" y="50"/>
                    <a:pt x="33" y="50"/>
                  </a:cubicBezTo>
                  <a:cubicBezTo>
                    <a:pt x="24" y="50"/>
                    <a:pt x="16" y="42"/>
                    <a:pt x="16" y="33"/>
                  </a:cubicBezTo>
                  <a:cubicBezTo>
                    <a:pt x="16" y="24"/>
                    <a:pt x="24" y="16"/>
                    <a:pt x="33" y="16"/>
                  </a:cubicBezTo>
                  <a:cubicBezTo>
                    <a:pt x="42" y="16"/>
                    <a:pt x="50" y="24"/>
                    <a:pt x="50" y="33"/>
                  </a:cubicBezTo>
                  <a:close/>
                  <a:moveTo>
                    <a:pt x="33" y="0"/>
                  </a:moveTo>
                  <a:cubicBezTo>
                    <a:pt x="14" y="0"/>
                    <a:pt x="0" y="15"/>
                    <a:pt x="0" y="33"/>
                  </a:cubicBezTo>
                  <a:cubicBezTo>
                    <a:pt x="0" y="51"/>
                    <a:pt x="14" y="66"/>
                    <a:pt x="33" y="66"/>
                  </a:cubicBezTo>
                  <a:cubicBezTo>
                    <a:pt x="51" y="66"/>
                    <a:pt x="66" y="51"/>
                    <a:pt x="66" y="33"/>
                  </a:cubicBezTo>
                  <a:cubicBezTo>
                    <a:pt x="66" y="15"/>
                    <a:pt x="51" y="0"/>
                    <a:pt x="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1030">
              <a:extLst>
                <a:ext uri="{FF2B5EF4-FFF2-40B4-BE49-F238E27FC236}">
                  <a16:creationId xmlns:a16="http://schemas.microsoft.com/office/drawing/2014/main" id="{F4D7F604-FA2F-0A69-E98A-1D0E7EF969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97488" y="3027363"/>
              <a:ext cx="49213" cy="49213"/>
            </a:xfrm>
            <a:custGeom>
              <a:avLst/>
              <a:gdLst>
                <a:gd name="T0" fmla="*/ 50 w 67"/>
                <a:gd name="T1" fmla="*/ 33 h 66"/>
                <a:gd name="T2" fmla="*/ 33 w 67"/>
                <a:gd name="T3" fmla="*/ 50 h 66"/>
                <a:gd name="T4" fmla="*/ 17 w 67"/>
                <a:gd name="T5" fmla="*/ 33 h 66"/>
                <a:gd name="T6" fmla="*/ 33 w 67"/>
                <a:gd name="T7" fmla="*/ 16 h 66"/>
                <a:gd name="T8" fmla="*/ 50 w 67"/>
                <a:gd name="T9" fmla="*/ 33 h 66"/>
                <a:gd name="T10" fmla="*/ 33 w 67"/>
                <a:gd name="T11" fmla="*/ 0 h 66"/>
                <a:gd name="T12" fmla="*/ 0 w 67"/>
                <a:gd name="T13" fmla="*/ 33 h 66"/>
                <a:gd name="T14" fmla="*/ 33 w 67"/>
                <a:gd name="T15" fmla="*/ 66 h 66"/>
                <a:gd name="T16" fmla="*/ 67 w 67"/>
                <a:gd name="T17" fmla="*/ 33 h 66"/>
                <a:gd name="T18" fmla="*/ 33 w 67"/>
                <a:gd name="T1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6">
                  <a:moveTo>
                    <a:pt x="50" y="33"/>
                  </a:moveTo>
                  <a:cubicBezTo>
                    <a:pt x="50" y="42"/>
                    <a:pt x="42" y="50"/>
                    <a:pt x="33" y="50"/>
                  </a:cubicBezTo>
                  <a:cubicBezTo>
                    <a:pt x="24" y="50"/>
                    <a:pt x="17" y="42"/>
                    <a:pt x="17" y="33"/>
                  </a:cubicBezTo>
                  <a:cubicBezTo>
                    <a:pt x="17" y="24"/>
                    <a:pt x="24" y="16"/>
                    <a:pt x="33" y="16"/>
                  </a:cubicBezTo>
                  <a:cubicBezTo>
                    <a:pt x="42" y="16"/>
                    <a:pt x="50" y="24"/>
                    <a:pt x="50" y="33"/>
                  </a:cubicBezTo>
                  <a:close/>
                  <a:moveTo>
                    <a:pt x="33" y="0"/>
                  </a:moveTo>
                  <a:cubicBezTo>
                    <a:pt x="15" y="0"/>
                    <a:pt x="0" y="15"/>
                    <a:pt x="0" y="33"/>
                  </a:cubicBezTo>
                  <a:cubicBezTo>
                    <a:pt x="0" y="51"/>
                    <a:pt x="15" y="66"/>
                    <a:pt x="33" y="66"/>
                  </a:cubicBezTo>
                  <a:cubicBezTo>
                    <a:pt x="52" y="66"/>
                    <a:pt x="67" y="51"/>
                    <a:pt x="67" y="33"/>
                  </a:cubicBezTo>
                  <a:cubicBezTo>
                    <a:pt x="67" y="15"/>
                    <a:pt x="52" y="0"/>
                    <a:pt x="3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Rectangle 1031">
              <a:extLst>
                <a:ext uri="{FF2B5EF4-FFF2-40B4-BE49-F238E27FC236}">
                  <a16:creationId xmlns:a16="http://schemas.microsoft.com/office/drawing/2014/main" id="{6E02A61D-1C47-36EE-4A3D-F01EF08A74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22913" y="2978150"/>
              <a:ext cx="98425" cy="127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Rectangle 1032">
              <a:extLst>
                <a:ext uri="{FF2B5EF4-FFF2-40B4-BE49-F238E27FC236}">
                  <a16:creationId xmlns:a16="http://schemas.microsoft.com/office/drawing/2014/main" id="{144A76CC-0B95-4C3C-31F9-43B015F9C8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10213" y="3014663"/>
              <a:ext cx="49213" cy="127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ctangle 1033">
              <a:extLst>
                <a:ext uri="{FF2B5EF4-FFF2-40B4-BE49-F238E27FC236}">
                  <a16:creationId xmlns:a16="http://schemas.microsoft.com/office/drawing/2014/main" id="{8CACEEC2-3255-CCFB-DFF1-53DC1EF17D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6738" y="2643188"/>
              <a:ext cx="12700" cy="29686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Rectangle 1034">
              <a:extLst>
                <a:ext uri="{FF2B5EF4-FFF2-40B4-BE49-F238E27FC236}">
                  <a16:creationId xmlns:a16="http://schemas.microsoft.com/office/drawing/2014/main" id="{B8DEF5A0-36CA-CC37-1EF0-B58791DDA7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6738" y="2630488"/>
              <a:ext cx="36513" cy="127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Rectangle 1035">
              <a:extLst>
                <a:ext uri="{FF2B5EF4-FFF2-40B4-BE49-F238E27FC236}">
                  <a16:creationId xmlns:a16="http://schemas.microsoft.com/office/drawing/2014/main" id="{74C0DEF0-E902-99A8-0608-308E0674D8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46738" y="2927350"/>
              <a:ext cx="36513" cy="127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1036">
              <a:extLst>
                <a:ext uri="{FF2B5EF4-FFF2-40B4-BE49-F238E27FC236}">
                  <a16:creationId xmlns:a16="http://schemas.microsoft.com/office/drawing/2014/main" id="{7DE62F7D-02D2-2A9E-0AFA-A3E50EA45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2913" y="3114675"/>
              <a:ext cx="49213" cy="49213"/>
            </a:xfrm>
            <a:custGeom>
              <a:avLst/>
              <a:gdLst>
                <a:gd name="T0" fmla="*/ 16 w 66"/>
                <a:gd name="T1" fmla="*/ 17 h 67"/>
                <a:gd name="T2" fmla="*/ 16 w 66"/>
                <a:gd name="T3" fmla="*/ 50 h 67"/>
                <a:gd name="T4" fmla="*/ 50 w 66"/>
                <a:gd name="T5" fmla="*/ 50 h 67"/>
                <a:gd name="T6" fmla="*/ 50 w 66"/>
                <a:gd name="T7" fmla="*/ 17 h 67"/>
                <a:gd name="T8" fmla="*/ 16 w 66"/>
                <a:gd name="T9" fmla="*/ 17 h 67"/>
                <a:gd name="T10" fmla="*/ 50 w 66"/>
                <a:gd name="T11" fmla="*/ 50 h 67"/>
                <a:gd name="T12" fmla="*/ 50 w 66"/>
                <a:gd name="T13" fmla="*/ 67 h 67"/>
                <a:gd name="T14" fmla="*/ 16 w 66"/>
                <a:gd name="T15" fmla="*/ 67 h 67"/>
                <a:gd name="T16" fmla="*/ 0 w 66"/>
                <a:gd name="T17" fmla="*/ 50 h 67"/>
                <a:gd name="T18" fmla="*/ 0 w 66"/>
                <a:gd name="T19" fmla="*/ 17 h 67"/>
                <a:gd name="T20" fmla="*/ 16 w 66"/>
                <a:gd name="T21" fmla="*/ 0 h 67"/>
                <a:gd name="T22" fmla="*/ 50 w 66"/>
                <a:gd name="T23" fmla="*/ 0 h 67"/>
                <a:gd name="T24" fmla="*/ 66 w 66"/>
                <a:gd name="T25" fmla="*/ 17 h 67"/>
                <a:gd name="T26" fmla="*/ 66 w 66"/>
                <a:gd name="T27" fmla="*/ 50 h 67"/>
                <a:gd name="T28" fmla="*/ 50 w 66"/>
                <a:gd name="T2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67">
                  <a:moveTo>
                    <a:pt x="16" y="17"/>
                  </a:moveTo>
                  <a:lnTo>
                    <a:pt x="16" y="50"/>
                  </a:lnTo>
                  <a:lnTo>
                    <a:pt x="50" y="50"/>
                  </a:lnTo>
                  <a:lnTo>
                    <a:pt x="50" y="17"/>
                  </a:lnTo>
                  <a:lnTo>
                    <a:pt x="16" y="17"/>
                  </a:lnTo>
                  <a:close/>
                  <a:moveTo>
                    <a:pt x="50" y="50"/>
                  </a:moveTo>
                  <a:close/>
                  <a:moveTo>
                    <a:pt x="50" y="67"/>
                  </a:moveTo>
                  <a:lnTo>
                    <a:pt x="16" y="67"/>
                  </a:lnTo>
                  <a:cubicBezTo>
                    <a:pt x="7" y="67"/>
                    <a:pt x="0" y="60"/>
                    <a:pt x="0" y="50"/>
                  </a:cubicBezTo>
                  <a:lnTo>
                    <a:pt x="0" y="17"/>
                  </a:lnTo>
                  <a:cubicBezTo>
                    <a:pt x="0" y="8"/>
                    <a:pt x="7" y="0"/>
                    <a:pt x="16" y="0"/>
                  </a:cubicBezTo>
                  <a:lnTo>
                    <a:pt x="50" y="0"/>
                  </a:lnTo>
                  <a:cubicBezTo>
                    <a:pt x="59" y="0"/>
                    <a:pt x="66" y="8"/>
                    <a:pt x="66" y="17"/>
                  </a:cubicBezTo>
                  <a:lnTo>
                    <a:pt x="66" y="50"/>
                  </a:lnTo>
                  <a:cubicBezTo>
                    <a:pt x="66" y="60"/>
                    <a:pt x="59" y="67"/>
                    <a:pt x="50" y="6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1037">
              <a:extLst>
                <a:ext uri="{FF2B5EF4-FFF2-40B4-BE49-F238E27FC236}">
                  <a16:creationId xmlns:a16="http://schemas.microsoft.com/office/drawing/2014/main" id="{6C76031B-38C7-FA68-2A5C-54E85E7704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988" y="2916238"/>
              <a:ext cx="373063" cy="285750"/>
            </a:xfrm>
            <a:custGeom>
              <a:avLst/>
              <a:gdLst>
                <a:gd name="T0" fmla="*/ 483 w 500"/>
                <a:gd name="T1" fmla="*/ 315 h 383"/>
                <a:gd name="T2" fmla="*/ 433 w 500"/>
                <a:gd name="T3" fmla="*/ 366 h 383"/>
                <a:gd name="T4" fmla="*/ 67 w 500"/>
                <a:gd name="T5" fmla="*/ 366 h 383"/>
                <a:gd name="T6" fmla="*/ 17 w 500"/>
                <a:gd name="T7" fmla="*/ 315 h 383"/>
                <a:gd name="T8" fmla="*/ 17 w 500"/>
                <a:gd name="T9" fmla="*/ 200 h 383"/>
                <a:gd name="T10" fmla="*/ 0 w 500"/>
                <a:gd name="T11" fmla="*/ 200 h 383"/>
                <a:gd name="T12" fmla="*/ 0 w 500"/>
                <a:gd name="T13" fmla="*/ 315 h 383"/>
                <a:gd name="T14" fmla="*/ 67 w 500"/>
                <a:gd name="T15" fmla="*/ 383 h 383"/>
                <a:gd name="T16" fmla="*/ 433 w 500"/>
                <a:gd name="T17" fmla="*/ 383 h 383"/>
                <a:gd name="T18" fmla="*/ 500 w 500"/>
                <a:gd name="T19" fmla="*/ 315 h 383"/>
                <a:gd name="T20" fmla="*/ 500 w 500"/>
                <a:gd name="T21" fmla="*/ 0 h 383"/>
                <a:gd name="T22" fmla="*/ 483 w 500"/>
                <a:gd name="T23" fmla="*/ 0 h 383"/>
                <a:gd name="T24" fmla="*/ 483 w 500"/>
                <a:gd name="T25" fmla="*/ 315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0" h="383">
                  <a:moveTo>
                    <a:pt x="483" y="315"/>
                  </a:moveTo>
                  <a:cubicBezTo>
                    <a:pt x="483" y="343"/>
                    <a:pt x="461" y="366"/>
                    <a:pt x="433" y="366"/>
                  </a:cubicBezTo>
                  <a:lnTo>
                    <a:pt x="67" y="366"/>
                  </a:lnTo>
                  <a:cubicBezTo>
                    <a:pt x="39" y="366"/>
                    <a:pt x="17" y="343"/>
                    <a:pt x="17" y="315"/>
                  </a:cubicBezTo>
                  <a:lnTo>
                    <a:pt x="17" y="200"/>
                  </a:lnTo>
                  <a:lnTo>
                    <a:pt x="0" y="200"/>
                  </a:lnTo>
                  <a:lnTo>
                    <a:pt x="0" y="315"/>
                  </a:lnTo>
                  <a:cubicBezTo>
                    <a:pt x="0" y="352"/>
                    <a:pt x="30" y="383"/>
                    <a:pt x="67" y="383"/>
                  </a:cubicBezTo>
                  <a:lnTo>
                    <a:pt x="433" y="383"/>
                  </a:lnTo>
                  <a:cubicBezTo>
                    <a:pt x="470" y="383"/>
                    <a:pt x="500" y="352"/>
                    <a:pt x="500" y="315"/>
                  </a:cubicBezTo>
                  <a:lnTo>
                    <a:pt x="500" y="0"/>
                  </a:lnTo>
                  <a:lnTo>
                    <a:pt x="483" y="0"/>
                  </a:lnTo>
                  <a:lnTo>
                    <a:pt x="483" y="315"/>
                  </a:lnTo>
                  <a:close/>
                </a:path>
              </a:pathLst>
            </a:custGeom>
            <a:solidFill>
              <a:schemeClr val="tx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1038">
              <a:extLst>
                <a:ext uri="{FF2B5EF4-FFF2-40B4-BE49-F238E27FC236}">
                  <a16:creationId xmlns:a16="http://schemas.microsoft.com/office/drawing/2014/main" id="{E5E14D60-A78F-0D44-C7C8-6FB093324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0988" y="2530475"/>
              <a:ext cx="373063" cy="274638"/>
            </a:xfrm>
            <a:custGeom>
              <a:avLst/>
              <a:gdLst>
                <a:gd name="T0" fmla="*/ 500 w 500"/>
                <a:gd name="T1" fmla="*/ 66 h 367"/>
                <a:gd name="T2" fmla="*/ 433 w 500"/>
                <a:gd name="T3" fmla="*/ 0 h 367"/>
                <a:gd name="T4" fmla="*/ 67 w 500"/>
                <a:gd name="T5" fmla="*/ 0 h 367"/>
                <a:gd name="T6" fmla="*/ 0 w 500"/>
                <a:gd name="T7" fmla="*/ 66 h 367"/>
                <a:gd name="T8" fmla="*/ 0 w 500"/>
                <a:gd name="T9" fmla="*/ 367 h 367"/>
                <a:gd name="T10" fmla="*/ 17 w 500"/>
                <a:gd name="T11" fmla="*/ 367 h 367"/>
                <a:gd name="T12" fmla="*/ 17 w 500"/>
                <a:gd name="T13" fmla="*/ 66 h 367"/>
                <a:gd name="T14" fmla="*/ 67 w 500"/>
                <a:gd name="T15" fmla="*/ 17 h 367"/>
                <a:gd name="T16" fmla="*/ 433 w 500"/>
                <a:gd name="T17" fmla="*/ 17 h 367"/>
                <a:gd name="T18" fmla="*/ 483 w 500"/>
                <a:gd name="T19" fmla="*/ 66 h 367"/>
                <a:gd name="T20" fmla="*/ 483 w 500"/>
                <a:gd name="T21" fmla="*/ 150 h 367"/>
                <a:gd name="T22" fmla="*/ 500 w 500"/>
                <a:gd name="T23" fmla="*/ 150 h 367"/>
                <a:gd name="T24" fmla="*/ 500 w 500"/>
                <a:gd name="T25" fmla="*/ 66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0" h="367">
                  <a:moveTo>
                    <a:pt x="500" y="66"/>
                  </a:moveTo>
                  <a:cubicBezTo>
                    <a:pt x="500" y="29"/>
                    <a:pt x="470" y="0"/>
                    <a:pt x="433" y="0"/>
                  </a:cubicBezTo>
                  <a:lnTo>
                    <a:pt x="67" y="0"/>
                  </a:lnTo>
                  <a:cubicBezTo>
                    <a:pt x="30" y="0"/>
                    <a:pt x="0" y="29"/>
                    <a:pt x="0" y="66"/>
                  </a:cubicBezTo>
                  <a:lnTo>
                    <a:pt x="0" y="367"/>
                  </a:lnTo>
                  <a:lnTo>
                    <a:pt x="17" y="367"/>
                  </a:lnTo>
                  <a:lnTo>
                    <a:pt x="17" y="66"/>
                  </a:lnTo>
                  <a:cubicBezTo>
                    <a:pt x="17" y="38"/>
                    <a:pt x="39" y="17"/>
                    <a:pt x="67" y="17"/>
                  </a:cubicBezTo>
                  <a:lnTo>
                    <a:pt x="433" y="17"/>
                  </a:lnTo>
                  <a:cubicBezTo>
                    <a:pt x="461" y="17"/>
                    <a:pt x="483" y="38"/>
                    <a:pt x="483" y="66"/>
                  </a:cubicBezTo>
                  <a:lnTo>
                    <a:pt x="483" y="150"/>
                  </a:lnTo>
                  <a:lnTo>
                    <a:pt x="500" y="150"/>
                  </a:lnTo>
                  <a:lnTo>
                    <a:pt x="500" y="66"/>
                  </a:lnTo>
                  <a:close/>
                </a:path>
              </a:pathLst>
            </a:custGeom>
            <a:solidFill>
              <a:schemeClr val="tx1"/>
            </a:solidFill>
            <a:ln w="2857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ctangle 1039">
              <a:extLst>
                <a:ext uri="{FF2B5EF4-FFF2-40B4-BE49-F238E27FC236}">
                  <a16:creationId xmlns:a16="http://schemas.microsoft.com/office/drawing/2014/main" id="{AC22652D-0D5C-80FA-F718-78C6912931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3688" y="3089275"/>
              <a:ext cx="347663" cy="12700"/>
            </a:xfrm>
            <a:prstGeom prst="rect">
              <a:avLst/>
            </a:prstGeom>
            <a:solidFill>
              <a:schemeClr val="tx1"/>
            </a:solidFill>
            <a:ln w="285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ctangle 1040">
              <a:extLst>
                <a:ext uri="{FF2B5EF4-FFF2-40B4-BE49-F238E27FC236}">
                  <a16:creationId xmlns:a16="http://schemas.microsoft.com/office/drawing/2014/main" id="{37C70E96-55A3-07BD-9F4C-509FA6850C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3688" y="2605088"/>
              <a:ext cx="347663" cy="12700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11520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9FA84DD-6C5F-51B9-046B-67545D4103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15881331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dvertising volu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A78E5B-54A1-CF11-D74B-7D5738BD6A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Customers within the Travel Sector when you add more advertising mail to your planned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  Advertising Mail or Catalogue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 Letters/Large Letters or 50k Catalogue items. 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7F266-3070-4B83-9733-B15DC3AD9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91F178B-FA22-2429-0145-3AB7BB2C46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6BA35-0E94-220C-8A1D-1E6441F21B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4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90B58B-6CF1-4955-8D52-7FBE295B9BD2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63D653-18EE-4628-8A73-0A473F0C4375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50EC5FC-1270-41FF-A626-74A5248546C4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86B2D5A-22BF-4879-9614-32F41509D7EE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52DC4-6365-41DC-B358-A3F94817D177}"/>
              </a:ext>
            </a:extLst>
          </p:cNvPr>
          <p:cNvSpPr txBox="1"/>
          <p:nvPr/>
        </p:nvSpPr>
        <p:spPr>
          <a:xfrm>
            <a:off x="807776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or Large Letters items sent using Advertising Mail Mailmark or Catalogue Mail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2E1EA-EFA6-4CAF-A9D7-1F201D8F5B01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F27763-2715-4333-A30D-4A43099E7A7E}"/>
              </a:ext>
            </a:extLst>
          </p:cNvPr>
          <p:cNvSpPr txBox="1"/>
          <p:nvPr/>
        </p:nvSpPr>
        <p:spPr>
          <a:xfrm>
            <a:off x="6082742" y="4691882"/>
            <a:ext cx="266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100k advertising mail letters or 50k catalogues and a maximum of 1m items over the incentive period.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E4D2A-B711-4648-84B3-069249F9177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48AC1-E82A-475B-8546-A9ABAFA0EE9D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8B92FC-59CB-4A91-AE6E-2C5B755F4174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43AFB8-AB54-4CE1-8221-FD65726C0178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D023D-E873-4B8F-9552-B6FD46601525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5770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9DE91-F921-4DBA-BD51-28827ED34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C0722B8-6ED7-7A81-3387-6DD5264A2E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1E52A3-242E-4AFC-8F94-C61FD634B7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947305-9693-24C8-ED9A-1A67396217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35AF87-D7F3-4FD6-BE60-9F186F1FFD90}"/>
              </a:ext>
            </a:extLst>
          </p:cNvPr>
          <p:cNvSpPr txBox="1"/>
          <p:nvPr/>
        </p:nvSpPr>
        <p:spPr>
          <a:xfrm>
            <a:off x="2073861" y="3546635"/>
            <a:ext cx="12066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February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CEAF62-6C1D-4BB6-BAFB-3A6115EACE06}"/>
              </a:ext>
            </a:extLst>
          </p:cNvPr>
          <p:cNvSpPr txBox="1"/>
          <p:nvPr/>
        </p:nvSpPr>
        <p:spPr>
          <a:xfrm>
            <a:off x="1725752" y="4488569"/>
            <a:ext cx="1902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97E206-5996-457D-9541-ADE0CC97B800}"/>
              </a:ext>
            </a:extLst>
          </p:cNvPr>
          <p:cNvSpPr txBox="1"/>
          <p:nvPr/>
        </p:nvSpPr>
        <p:spPr>
          <a:xfrm>
            <a:off x="6689568" y="3546635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A0293F-A0E1-4CF4-981C-6AFD52533455}"/>
              </a:ext>
            </a:extLst>
          </p:cNvPr>
          <p:cNvSpPr txBox="1"/>
          <p:nvPr/>
        </p:nvSpPr>
        <p:spPr>
          <a:xfrm>
            <a:off x="6408306" y="4488569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E2BE64-45CF-4C40-A47F-13952F4E5278}"/>
              </a:ext>
            </a:extLst>
          </p:cNvPr>
          <p:cNvSpPr txBox="1"/>
          <p:nvPr/>
        </p:nvSpPr>
        <p:spPr>
          <a:xfrm>
            <a:off x="9021104" y="3546635"/>
            <a:ext cx="9451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2 May 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FA213B-60B8-45A9-ABA6-625B7E48B591}"/>
              </a:ext>
            </a:extLst>
          </p:cNvPr>
          <p:cNvSpPr txBox="1"/>
          <p:nvPr/>
        </p:nvSpPr>
        <p:spPr>
          <a:xfrm>
            <a:off x="8606310" y="448856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FBBFDC-BF9C-D761-8787-DCF604390DBC}"/>
              </a:ext>
            </a:extLst>
          </p:cNvPr>
          <p:cNvSpPr txBox="1"/>
          <p:nvPr/>
        </p:nvSpPr>
        <p:spPr>
          <a:xfrm>
            <a:off x="4444514" y="3546635"/>
            <a:ext cx="9684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68815A-687B-444E-6C86-CCAF47BA15E8}"/>
              </a:ext>
            </a:extLst>
          </p:cNvPr>
          <p:cNvSpPr txBox="1"/>
          <p:nvPr/>
        </p:nvSpPr>
        <p:spPr>
          <a:xfrm>
            <a:off x="4028150" y="4488569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BA26B4-386F-3C12-35D1-10997740438E}"/>
              </a:ext>
            </a:extLst>
          </p:cNvPr>
          <p:cNvGrpSpPr/>
          <p:nvPr/>
        </p:nvGrpSpPr>
        <p:grpSpPr>
          <a:xfrm>
            <a:off x="1853160" y="2625648"/>
            <a:ext cx="1648014" cy="1808359"/>
            <a:chOff x="6761932" y="1222043"/>
            <a:chExt cx="1648014" cy="1808359"/>
          </a:xfrm>
        </p:grpSpPr>
        <p:sp>
          <p:nvSpPr>
            <p:cNvPr id="24" name="Free-form: Shape 297">
              <a:extLst>
                <a:ext uri="{FF2B5EF4-FFF2-40B4-BE49-F238E27FC236}">
                  <a16:creationId xmlns:a16="http://schemas.microsoft.com/office/drawing/2014/main" id="{3BCD2DF3-0003-53DF-CD65-D0C2151CA94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-form: Shape 298">
              <a:extLst>
                <a:ext uri="{FF2B5EF4-FFF2-40B4-BE49-F238E27FC236}">
                  <a16:creationId xmlns:a16="http://schemas.microsoft.com/office/drawing/2014/main" id="{841B831B-83E6-B049-C995-93FAA2EB943C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E8AFFD5-9C59-9313-BFC1-9EE48205F741}"/>
              </a:ext>
            </a:extLst>
          </p:cNvPr>
          <p:cNvGrpSpPr/>
          <p:nvPr/>
        </p:nvGrpSpPr>
        <p:grpSpPr>
          <a:xfrm>
            <a:off x="4104742" y="2625648"/>
            <a:ext cx="1648014" cy="1808359"/>
            <a:chOff x="6761932" y="1222043"/>
            <a:chExt cx="1648014" cy="1808359"/>
          </a:xfrm>
        </p:grpSpPr>
        <p:sp>
          <p:nvSpPr>
            <p:cNvPr id="32" name="Free-form: Shape 297">
              <a:extLst>
                <a:ext uri="{FF2B5EF4-FFF2-40B4-BE49-F238E27FC236}">
                  <a16:creationId xmlns:a16="http://schemas.microsoft.com/office/drawing/2014/main" id="{BC9D9712-371F-B62C-F75F-28B3DAF756A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-form: Shape 298">
              <a:extLst>
                <a:ext uri="{FF2B5EF4-FFF2-40B4-BE49-F238E27FC236}">
                  <a16:creationId xmlns:a16="http://schemas.microsoft.com/office/drawing/2014/main" id="{2DABCB0D-4844-E2A9-14B3-A481D48A27C1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7CAF0D5-3AFB-C9BD-F903-1773871AFF06}"/>
              </a:ext>
            </a:extLst>
          </p:cNvPr>
          <p:cNvGrpSpPr/>
          <p:nvPr/>
        </p:nvGrpSpPr>
        <p:grpSpPr>
          <a:xfrm>
            <a:off x="6408306" y="2625648"/>
            <a:ext cx="1648014" cy="1808359"/>
            <a:chOff x="6761932" y="1222043"/>
            <a:chExt cx="1648014" cy="1808359"/>
          </a:xfrm>
        </p:grpSpPr>
        <p:sp>
          <p:nvSpPr>
            <p:cNvPr id="35" name="Free-form: Shape 297">
              <a:extLst>
                <a:ext uri="{FF2B5EF4-FFF2-40B4-BE49-F238E27FC236}">
                  <a16:creationId xmlns:a16="http://schemas.microsoft.com/office/drawing/2014/main" id="{E380F69A-DDC8-79CB-A3A0-193602B357B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-form: Shape 298">
              <a:extLst>
                <a:ext uri="{FF2B5EF4-FFF2-40B4-BE49-F238E27FC236}">
                  <a16:creationId xmlns:a16="http://schemas.microsoft.com/office/drawing/2014/main" id="{71B95F44-21C4-06DE-C57B-72E9D1CD965E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8C6C63E-91E3-C3D7-0B43-D2ADC7B99885}"/>
              </a:ext>
            </a:extLst>
          </p:cNvPr>
          <p:cNvGrpSpPr/>
          <p:nvPr/>
        </p:nvGrpSpPr>
        <p:grpSpPr>
          <a:xfrm>
            <a:off x="8669662" y="2625648"/>
            <a:ext cx="1648014" cy="1808359"/>
            <a:chOff x="6761932" y="1222043"/>
            <a:chExt cx="1648014" cy="1808359"/>
          </a:xfrm>
        </p:grpSpPr>
        <p:sp>
          <p:nvSpPr>
            <p:cNvPr id="38" name="Free-form: Shape 297">
              <a:extLst>
                <a:ext uri="{FF2B5EF4-FFF2-40B4-BE49-F238E27FC236}">
                  <a16:creationId xmlns:a16="http://schemas.microsoft.com/office/drawing/2014/main" id="{0742ED2A-50AA-268E-2244-8AA10478AD69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-form: Shape 298">
              <a:extLst>
                <a:ext uri="{FF2B5EF4-FFF2-40B4-BE49-F238E27FC236}">
                  <a16:creationId xmlns:a16="http://schemas.microsoft.com/office/drawing/2014/main" id="{0D3AC30D-26E2-3732-0FA6-9B05A199DACA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388142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E404E-6A42-7266-596B-CC1D87CBF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4791FC-4B3D-25C7-00DC-2CE9FB1FE5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631156" y="2991635"/>
            <a:ext cx="326715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Get postage credit of up to 20% for incremental advertising mail ite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84DFF6-A8CD-4D91-B51D-D048FCF43A08}"/>
              </a:ext>
            </a:extLst>
          </p:cNvPr>
          <p:cNvSpPr txBox="1"/>
          <p:nvPr/>
        </p:nvSpPr>
        <p:spPr>
          <a:xfrm>
            <a:off x="7631156" y="2058424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40035E-504A-4484-82AB-EA18BD758572}"/>
              </a:ext>
            </a:extLst>
          </p:cNvPr>
          <p:cNvGrpSpPr/>
          <p:nvPr/>
        </p:nvGrpSpPr>
        <p:grpSpPr>
          <a:xfrm>
            <a:off x="6626827" y="2928064"/>
            <a:ext cx="1004329" cy="1005431"/>
            <a:chOff x="6711028" y="4025932"/>
            <a:chExt cx="761165" cy="762000"/>
          </a:xfrm>
        </p:grpSpPr>
        <p:sp>
          <p:nvSpPr>
            <p:cNvPr id="12" name="Discount">
              <a:extLst>
                <a:ext uri="{FF2B5EF4-FFF2-40B4-BE49-F238E27FC236}">
                  <a16:creationId xmlns:a16="http://schemas.microsoft.com/office/drawing/2014/main" id="{E9E022D4-20A9-4425-BB12-17802CFF400D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Percent">
              <a:extLst>
                <a:ext uri="{FF2B5EF4-FFF2-40B4-BE49-F238E27FC236}">
                  <a16:creationId xmlns:a16="http://schemas.microsoft.com/office/drawing/2014/main" id="{A46DD1F5-E6BE-43DF-802D-33946110BBF7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4" name="Percent">
                <a:extLst>
                  <a:ext uri="{FF2B5EF4-FFF2-40B4-BE49-F238E27FC236}">
                    <a16:creationId xmlns:a16="http://schemas.microsoft.com/office/drawing/2014/main" id="{45CB299A-A951-48B7-9931-ACCC8F4BB1C5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Percent">
                <a:extLst>
                  <a:ext uri="{FF2B5EF4-FFF2-40B4-BE49-F238E27FC236}">
                    <a16:creationId xmlns:a16="http://schemas.microsoft.com/office/drawing/2014/main" id="{AC11F40C-08A4-46BE-A265-A096727C898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Percent">
                <a:extLst>
                  <a:ext uri="{FF2B5EF4-FFF2-40B4-BE49-F238E27FC236}">
                    <a16:creationId xmlns:a16="http://schemas.microsoft.com/office/drawing/2014/main" id="{3EF71AE4-67EC-4E3E-ACE0-35AD55232AB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448665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937AD97-B6DC-4C19-9B7F-FE4D5C31E59D}"/>
              </a:ext>
            </a:extLst>
          </p:cNvPr>
          <p:cNvSpPr txBox="1">
            <a:spLocks/>
          </p:cNvSpPr>
          <p:nvPr/>
        </p:nvSpPr>
        <p:spPr>
          <a:xfrm>
            <a:off x="6415753" y="426893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Props1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6937AC5-93BF-49A6-B607-CC4F4B0ECEB8}">
  <ds:schemaRefs>
    <ds:schemaRef ds:uri="http://schemas.microsoft.com/office/2006/documentManagement/types"/>
    <ds:schemaRef ds:uri="http://schemas.microsoft.com/office/infopath/2007/PartnerControls"/>
    <ds:schemaRef ds:uri="707d9dac-b3e0-4010-a31f-c9f487ae09b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76</Words>
  <Application>Microsoft Office PowerPoint</Application>
  <PresentationFormat>Widescreen</PresentationFormat>
  <Paragraphs>141</Paragraphs>
  <Slides>1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9" baseType="lpstr">
      <vt:lpstr>Arial</vt:lpstr>
      <vt:lpstr>Calibri</vt:lpstr>
      <vt:lpstr>Century Gothic</vt:lpstr>
      <vt:lpstr>Impact</vt:lpstr>
      <vt:lpstr>Wingdings</vt:lpstr>
      <vt:lpstr>Office Theme</vt:lpstr>
      <vt:lpstr>ROYAL MAIL TRAVEL INCENTIVE 2025</vt:lpstr>
      <vt:lpstr>Engagement rates with travel mail</vt:lpstr>
      <vt:lpstr>Key metrics for travel mail</vt:lpstr>
      <vt:lpstr>Commercial actions with travel mail</vt:lpstr>
      <vt:lpstr>PowerPoint Presentation</vt:lpstr>
      <vt:lpstr>Advertising mail</vt:lpstr>
      <vt:lpstr>ENTRY REQUIREMENTS</vt:lpstr>
      <vt:lpstr>OFFER DATES</vt:lpstr>
      <vt:lpstr>PowerPoint Presentation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1-28T09:4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